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mf" ContentType="image/x-wm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ags/tag2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3.xml" ContentType="application/vnd.openxmlformats-officedocument.theme+xml"/>
  <Override PartName="/ppt/theme/theme4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4"/>
    <p:sldMasterId id="2147483809" r:id="rId5"/>
  </p:sldMasterIdLst>
  <p:notesMasterIdLst>
    <p:notesMasterId r:id="rId14"/>
  </p:notesMasterIdLst>
  <p:handoutMasterIdLst>
    <p:handoutMasterId r:id="rId15"/>
  </p:handoutMasterIdLst>
  <p:sldIdLst>
    <p:sldId id="2145706316" r:id="rId6"/>
    <p:sldId id="2145706344" r:id="rId7"/>
    <p:sldId id="2145706349" r:id="rId8"/>
    <p:sldId id="2145706347" r:id="rId9"/>
    <p:sldId id="2145706350" r:id="rId10"/>
    <p:sldId id="2145706348" r:id="rId11"/>
    <p:sldId id="2145706343" r:id="rId12"/>
    <p:sldId id="2145706337" r:id="rId13"/>
  </p:sldIdLst>
  <p:sldSz cx="12192000" cy="6858000"/>
  <p:notesSz cx="6858000" cy="9144000"/>
  <p:embeddedFontLst>
    <p:embeddedFont>
      <p:font typeface="Arial Black" panose="020B0A04020102020204" pitchFamily="34" charset="0"/>
      <p:bold r:id="rId16"/>
    </p:embeddedFont>
    <p:embeddedFont>
      <p:font typeface="Calibri" panose="020F0502020204030204" pitchFamily="34" charset="0"/>
      <p:regular r:id="rId17"/>
      <p:bold r:id="rId18"/>
      <p:italic r:id="rId19"/>
      <p:boldItalic r:id="rId20"/>
    </p:embeddedFont>
    <p:embeddedFont>
      <p:font typeface="Poppins ExtraBold" panose="00000900000000000000"/>
      <p:bold r:id="rId21"/>
      <p:boldItalic r:id="rId22"/>
    </p:embeddedFont>
    <p:embeddedFont>
      <p:font typeface="Poppins ExtraLight" panose="00000300000000000000"/>
      <p:regular r:id="rId23"/>
      <p:italic r:id="rId24"/>
    </p:embeddedFont>
    <p:embeddedFont>
      <p:font typeface="Poppins SemiBold" panose="00000700000000000000"/>
      <p:bold r:id="rId25"/>
      <p:boldItalic r:id="rId26"/>
    </p:embeddedFont>
  </p:embeddedFontLst>
  <p:custDataLst>
    <p:tags r:id="rId27"/>
  </p:custDataLst>
  <p:defaultTextStyle>
    <a:defPPr>
      <a:defRPr lang="fi-FI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3ACEC"/>
    <a:srgbClr val="B3E3FB"/>
    <a:srgbClr val="DBF2FD"/>
    <a:srgbClr val="FBDCEA"/>
    <a:srgbClr val="FDE9F3"/>
    <a:srgbClr val="FDE3F0"/>
    <a:srgbClr val="ECF8FE"/>
    <a:srgbClr val="FEF4F9"/>
    <a:srgbClr val="8ACA7E"/>
    <a:srgbClr val="648D1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568" autoAdjust="0"/>
    <p:restoredTop sz="94980" autoAdjust="0"/>
  </p:normalViewPr>
  <p:slideViewPr>
    <p:cSldViewPr snapToGrid="0">
      <p:cViewPr>
        <p:scale>
          <a:sx n="70" d="100"/>
          <a:sy n="70" d="100"/>
        </p:scale>
        <p:origin x="784" y="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font" Target="fonts/font3.fntdata"/><Relationship Id="rId26" Type="http://schemas.openxmlformats.org/officeDocument/2006/relationships/font" Target="fonts/font11.fntdata"/><Relationship Id="rId3" Type="http://schemas.openxmlformats.org/officeDocument/2006/relationships/customXml" Target="../customXml/item3.xml"/><Relationship Id="rId21" Type="http://schemas.openxmlformats.org/officeDocument/2006/relationships/font" Target="fonts/font6.fntdata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font" Target="fonts/font2.fntdata"/><Relationship Id="rId25" Type="http://schemas.openxmlformats.org/officeDocument/2006/relationships/font" Target="fonts/font10.fntdata"/><Relationship Id="rId2" Type="http://schemas.openxmlformats.org/officeDocument/2006/relationships/customXml" Target="../customXml/item2.xml"/><Relationship Id="rId16" Type="http://schemas.openxmlformats.org/officeDocument/2006/relationships/font" Target="fonts/font1.fntdata"/><Relationship Id="rId20" Type="http://schemas.openxmlformats.org/officeDocument/2006/relationships/font" Target="fonts/font5.fntdata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font" Target="fonts/font9.fntdata"/><Relationship Id="rId5" Type="http://schemas.openxmlformats.org/officeDocument/2006/relationships/slideMaster" Target="slideMasters/slideMaster2.xml"/><Relationship Id="rId15" Type="http://schemas.openxmlformats.org/officeDocument/2006/relationships/handoutMaster" Target="handoutMasters/handoutMaster1.xml"/><Relationship Id="rId23" Type="http://schemas.openxmlformats.org/officeDocument/2006/relationships/font" Target="fonts/font8.fntdata"/><Relationship Id="rId28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font" Target="fonts/font4.fntdata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notesMaster" Target="notesMasters/notesMaster1.xml"/><Relationship Id="rId22" Type="http://schemas.openxmlformats.org/officeDocument/2006/relationships/font" Target="fonts/font7.fntdata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err="1">
                <a:latin typeface="Poppins ExtraBold" panose="00000900000000000000" pitchFamily="2" charset="0"/>
                <a:cs typeface="Poppins ExtraBold" panose="00000900000000000000" pitchFamily="2" charset="0"/>
              </a:rPr>
              <a:t>Otsikko</a:t>
            </a:r>
            <a:endParaRPr lang="en-US">
              <a:latin typeface="Poppins ExtraBold" panose="00000900000000000000" pitchFamily="2" charset="0"/>
              <a:cs typeface="Poppins ExtraBold" panose="00000900000000000000" pitchFamily="2" charset="0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i-FI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Otsikko</c:v>
                </c:pt>
              </c:strCache>
            </c:strRef>
          </c:tx>
          <c:explosion val="1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CB7-4791-A73E-4A68E1AE518C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CB7-4791-A73E-4A68E1AE518C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4CB7-4791-A73E-4A68E1AE518C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4CB7-4791-A73E-4A68E1AE518C}"/>
              </c:ext>
            </c:extLst>
          </c:dPt>
          <c:cat>
            <c:strRef>
              <c:f>Sheet1!$A$2:$A$5</c:f>
              <c:strCache>
                <c:ptCount val="4"/>
                <c:pt idx="0">
                  <c:v>1. Arvo</c:v>
                </c:pt>
                <c:pt idx="1">
                  <c:v>2. Arvo</c:v>
                </c:pt>
                <c:pt idx="2">
                  <c:v>3. Arvo</c:v>
                </c:pt>
                <c:pt idx="3">
                  <c:v>4. Arvo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8.1999999999999993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B0C-420B-8DDE-C48B689B0C4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Arial" panose="020B0604020202020204" pitchFamily="34" charset="0"/>
            </a:defRPr>
          </a:pPr>
          <a:endParaRPr lang="fi-FI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i-FI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Poppins ExtraBold" panose="00000900000000000000" pitchFamily="2" charset="0"/>
              <a:ea typeface="+mn-ea"/>
              <a:cs typeface="Poppins ExtraBold" panose="00000900000000000000" pitchFamily="2" charset="0"/>
            </a:defRPr>
          </a:pPr>
          <a:endParaRPr lang="fi-FI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Otsikko</c:v>
                </c:pt>
              </c:strCache>
            </c:strRef>
          </c:tx>
          <c:spPr>
            <a:solidFill>
              <a:schemeClr val="accent1"/>
            </a:solidFill>
            <a:ln w="19050">
              <a:solidFill>
                <a:schemeClr val="lt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AF11-4B94-9622-BFE5B72FC45B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F11-4B94-9622-BFE5B72FC45B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AF11-4B94-9622-BFE5B72FC45B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AF11-4B94-9622-BFE5B72FC45B}"/>
              </c:ext>
            </c:extLst>
          </c:dPt>
          <c:cat>
            <c:strRef>
              <c:f>Sheet1!$A$2:$A$5</c:f>
              <c:strCache>
                <c:ptCount val="4"/>
                <c:pt idx="0">
                  <c:v>1. Arvo</c:v>
                </c:pt>
                <c:pt idx="1">
                  <c:v>2. Arvo</c:v>
                </c:pt>
                <c:pt idx="2">
                  <c:v>3. Arvo</c:v>
                </c:pt>
                <c:pt idx="3">
                  <c:v>4. Arvo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8.1999999999999993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B0C-420B-8DDE-C48B689B0C4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473923376"/>
        <c:axId val="473925344"/>
      </c:barChart>
      <c:catAx>
        <c:axId val="47392337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pPr>
            <a:endParaRPr lang="fi-FI"/>
          </a:p>
        </c:txPr>
        <c:crossAx val="473925344"/>
        <c:crosses val="autoZero"/>
        <c:auto val="1"/>
        <c:lblAlgn val="ctr"/>
        <c:lblOffset val="100"/>
        <c:noMultiLvlLbl val="0"/>
      </c:catAx>
      <c:valAx>
        <c:axId val="4739253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4739233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Arial" panose="020B0604020202020204" pitchFamily="34" charset="0"/>
            </a:defRPr>
          </a:pPr>
          <a:endParaRPr lang="fi-FI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i-FI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err="1">
                <a:latin typeface="Poppins ExtraBold" panose="00000900000000000000" pitchFamily="2" charset="0"/>
                <a:cs typeface="Poppins ExtraBold" panose="00000900000000000000" pitchFamily="2" charset="0"/>
              </a:rPr>
              <a:t>Otsikko</a:t>
            </a:r>
            <a:endParaRPr lang="en-US">
              <a:latin typeface="Poppins ExtraBold" panose="00000900000000000000" pitchFamily="2" charset="0"/>
              <a:cs typeface="Poppins ExtraBold" panose="00000900000000000000" pitchFamily="2" charset="0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i-FI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Otsikko</c:v>
                </c:pt>
              </c:strCache>
            </c:strRef>
          </c:tx>
          <c:explosion val="1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CB7-4791-A73E-4A68E1AE518C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CB7-4791-A73E-4A68E1AE518C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4CB7-4791-A73E-4A68E1AE518C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4CB7-4791-A73E-4A68E1AE518C}"/>
              </c:ext>
            </c:extLst>
          </c:dPt>
          <c:cat>
            <c:strRef>
              <c:f>Sheet1!$A$2:$A$5</c:f>
              <c:strCache>
                <c:ptCount val="4"/>
                <c:pt idx="0">
                  <c:v>1. Arvo</c:v>
                </c:pt>
                <c:pt idx="1">
                  <c:v>2. Arvo</c:v>
                </c:pt>
                <c:pt idx="2">
                  <c:v>3. Arvo</c:v>
                </c:pt>
                <c:pt idx="3">
                  <c:v>4. Arvo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8.1999999999999993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B0C-420B-8DDE-C48B689B0C4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Arial" panose="020B0604020202020204" pitchFamily="34" charset="0"/>
            </a:defRPr>
          </a:pPr>
          <a:endParaRPr lang="fi-FI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i-FI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Poppins ExtraBold" panose="00000900000000000000" pitchFamily="2" charset="0"/>
              <a:ea typeface="+mn-ea"/>
              <a:cs typeface="Poppins ExtraBold" panose="00000900000000000000" pitchFamily="2" charset="0"/>
            </a:defRPr>
          </a:pPr>
          <a:endParaRPr lang="fi-FI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Otsikko</c:v>
                </c:pt>
              </c:strCache>
            </c:strRef>
          </c:tx>
          <c:spPr>
            <a:solidFill>
              <a:schemeClr val="accent1"/>
            </a:solidFill>
            <a:ln w="19050">
              <a:solidFill>
                <a:schemeClr val="lt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AF11-4B94-9622-BFE5B72FC45B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F11-4B94-9622-BFE5B72FC45B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AF11-4B94-9622-BFE5B72FC45B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AF11-4B94-9622-BFE5B72FC45B}"/>
              </c:ext>
            </c:extLst>
          </c:dPt>
          <c:cat>
            <c:strRef>
              <c:f>Sheet1!$A$2:$A$5</c:f>
              <c:strCache>
                <c:ptCount val="4"/>
                <c:pt idx="0">
                  <c:v>1. Arvo</c:v>
                </c:pt>
                <c:pt idx="1">
                  <c:v>2. Arvo</c:v>
                </c:pt>
                <c:pt idx="2">
                  <c:v>3. Arvo</c:v>
                </c:pt>
                <c:pt idx="3">
                  <c:v>4. Arvo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8.1999999999999993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B0C-420B-8DDE-C48B689B0C4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473923376"/>
        <c:axId val="473925344"/>
      </c:barChart>
      <c:catAx>
        <c:axId val="47392337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pPr>
            <a:endParaRPr lang="fi-FI"/>
          </a:p>
        </c:txPr>
        <c:crossAx val="473925344"/>
        <c:crosses val="autoZero"/>
        <c:auto val="1"/>
        <c:lblAlgn val="ctr"/>
        <c:lblOffset val="100"/>
        <c:noMultiLvlLbl val="0"/>
      </c:catAx>
      <c:valAx>
        <c:axId val="4739253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4739233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Arial" panose="020B0604020202020204" pitchFamily="34" charset="0"/>
            </a:defRPr>
          </a:pPr>
          <a:endParaRPr lang="fi-FI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i-FI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66B643C-8C63-48BE-BE89-1A5E7D0FEAF4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i-FI"/>
        </a:p>
      </dgm:t>
    </dgm:pt>
    <dgm:pt modelId="{FBAA0F94-418E-4D11-9FBC-3257EED93406}" type="pres">
      <dgm:prSet presAssocID="{266B643C-8C63-48BE-BE89-1A5E7D0FEAF4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</dgm:ptLst>
  <dgm:cxnLst>
    <dgm:cxn modelId="{38B170DD-FAFC-4E67-BA77-53C8E359A654}" type="presOf" srcId="{266B643C-8C63-48BE-BE89-1A5E7D0FEAF4}" destId="{FBAA0F94-418E-4D11-9FBC-3257EED93406}" srcOrd="0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4D4F800-9F83-4374-8FC0-38C3A718BC14}" type="doc">
      <dgm:prSet loTypeId="urn:microsoft.com/office/officeart/2008/layout/NameandTitleOrganizationalChart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i-FI"/>
        </a:p>
      </dgm:t>
    </dgm:pt>
    <dgm:pt modelId="{71DFCD5C-F26E-46F3-ABBE-6F651DD03A3A}">
      <dgm:prSet phldrT="[Teksti]" custT="1"/>
      <dgm:spPr>
        <a:solidFill>
          <a:srgbClr val="23ACEC"/>
        </a:solidFill>
      </dgm:spPr>
      <dgm:t>
        <a:bodyPr/>
        <a:lstStyle/>
        <a:p>
          <a:r>
            <a:rPr lang="fi-FI" sz="1200" dirty="0"/>
            <a:t>Aluevaltuusto</a:t>
          </a:r>
        </a:p>
      </dgm:t>
    </dgm:pt>
    <dgm:pt modelId="{EC881503-4F03-423E-BD88-3B9972536D4C}" type="parTrans" cxnId="{C3240F03-8B8F-4AB3-867C-958386239640}">
      <dgm:prSet/>
      <dgm:spPr/>
      <dgm:t>
        <a:bodyPr/>
        <a:lstStyle/>
        <a:p>
          <a:endParaRPr lang="fi-FI"/>
        </a:p>
      </dgm:t>
    </dgm:pt>
    <dgm:pt modelId="{BD3076A6-0180-4931-9F6D-DB29DAC43DA9}" type="sibTrans" cxnId="{C3240F03-8B8F-4AB3-867C-958386239640}">
      <dgm:prSet custT="1"/>
      <dgm:spPr/>
      <dgm:t>
        <a:bodyPr/>
        <a:lstStyle/>
        <a:p>
          <a:r>
            <a:rPr lang="fi-FI" sz="1100" dirty="0"/>
            <a:t>Ylin päätäntävalta </a:t>
          </a:r>
          <a:br>
            <a:rPr lang="fi-FI" sz="1100" dirty="0"/>
          </a:br>
          <a:r>
            <a:rPr lang="fi-FI" sz="1100" dirty="0"/>
            <a:t>Periaatteet, strategia, talousarvio ja raamit</a:t>
          </a:r>
        </a:p>
      </dgm:t>
    </dgm:pt>
    <dgm:pt modelId="{12368A09-E494-4DA0-BE26-68DBFCC5A6DF}">
      <dgm:prSet phldrT="[Teksti]" custT="1"/>
      <dgm:spPr>
        <a:solidFill>
          <a:srgbClr val="23ACEC"/>
        </a:solidFill>
      </dgm:spPr>
      <dgm:t>
        <a:bodyPr/>
        <a:lstStyle/>
        <a:p>
          <a:r>
            <a:rPr lang="fi-FI" sz="1200" dirty="0"/>
            <a:t>Aluehallitus</a:t>
          </a:r>
        </a:p>
      </dgm:t>
    </dgm:pt>
    <dgm:pt modelId="{DA47CF47-0784-4D6D-B395-5A5FFD523745}" type="parTrans" cxnId="{B3B3D6FB-E4DD-4F0F-AE7C-26854E20F4ED}">
      <dgm:prSet/>
      <dgm:spPr/>
      <dgm:t>
        <a:bodyPr/>
        <a:lstStyle/>
        <a:p>
          <a:endParaRPr lang="fi-FI"/>
        </a:p>
      </dgm:t>
    </dgm:pt>
    <dgm:pt modelId="{F08E39A0-BB0D-4C5A-A9F3-B651BD2E3A6E}" type="sibTrans" cxnId="{B3B3D6FB-E4DD-4F0F-AE7C-26854E20F4ED}">
      <dgm:prSet/>
      <dgm:spPr/>
      <dgm:t>
        <a:bodyPr/>
        <a:lstStyle/>
        <a:p>
          <a:r>
            <a:rPr lang="fi-FI" dirty="0"/>
            <a:t>Talous, toiminta ja hallinto</a:t>
          </a:r>
        </a:p>
      </dgm:t>
    </dgm:pt>
    <dgm:pt modelId="{A68A7D00-0F6F-4C4D-927F-BB17BD44AA33}">
      <dgm:prSet phldrT="[Teksti]" custT="1"/>
      <dgm:spPr>
        <a:solidFill>
          <a:srgbClr val="23ACEC"/>
        </a:solidFill>
      </dgm:spPr>
      <dgm:t>
        <a:bodyPr/>
        <a:lstStyle/>
        <a:p>
          <a:r>
            <a:rPr lang="fi-FI" sz="1100" dirty="0"/>
            <a:t>Yksilöjaosto</a:t>
          </a:r>
        </a:p>
      </dgm:t>
    </dgm:pt>
    <dgm:pt modelId="{D89F6611-F552-4037-9A92-7CBA4DE65088}" type="parTrans" cxnId="{C57D8FFC-C107-4413-A878-4B350FECB893}">
      <dgm:prSet/>
      <dgm:spPr/>
      <dgm:t>
        <a:bodyPr/>
        <a:lstStyle/>
        <a:p>
          <a:endParaRPr lang="fi-FI"/>
        </a:p>
      </dgm:t>
    </dgm:pt>
    <dgm:pt modelId="{F10632A4-DCD2-4E67-8563-E7DF20E16F5C}" type="sibTrans" cxnId="{C57D8FFC-C107-4413-A878-4B350FECB893}">
      <dgm:prSet/>
      <dgm:spPr/>
      <dgm:t>
        <a:bodyPr/>
        <a:lstStyle/>
        <a:p>
          <a:r>
            <a:rPr lang="fi-FI" dirty="0"/>
            <a:t>Yksilöä ja perheitä koskevat sosiaali- ja terveysasiat (esim. oikaisuvaatimukset) </a:t>
          </a:r>
        </a:p>
      </dgm:t>
    </dgm:pt>
    <dgm:pt modelId="{3AE6697D-694C-416B-9275-3CAFB5A7E7BD}">
      <dgm:prSet phldrT="[Teksti]"/>
      <dgm:spPr/>
      <dgm:t>
        <a:bodyPr/>
        <a:lstStyle/>
        <a:p>
          <a:r>
            <a:rPr lang="fi-FI" dirty="0"/>
            <a:t>Kansalliskielilautakunta</a:t>
          </a:r>
        </a:p>
      </dgm:t>
    </dgm:pt>
    <dgm:pt modelId="{A585F1A3-827B-45D6-B5FC-D2FDAD1EA6A6}" type="parTrans" cxnId="{717C3560-561D-4F0E-BEF4-928899F7ACD0}">
      <dgm:prSet/>
      <dgm:spPr/>
      <dgm:t>
        <a:bodyPr/>
        <a:lstStyle/>
        <a:p>
          <a:endParaRPr lang="fi-FI"/>
        </a:p>
      </dgm:t>
    </dgm:pt>
    <dgm:pt modelId="{24A43F82-C49B-437A-A758-AAB066C6EF05}" type="sibTrans" cxnId="{717C3560-561D-4F0E-BEF4-928899F7ACD0}">
      <dgm:prSet custT="1"/>
      <dgm:spPr/>
      <dgm:t>
        <a:bodyPr/>
        <a:lstStyle/>
        <a:p>
          <a:r>
            <a:rPr lang="fi-FI" sz="900" dirty="0"/>
            <a:t>Kaksikielisten palvelujen seuranta</a:t>
          </a:r>
        </a:p>
        <a:p>
          <a:r>
            <a:rPr lang="fi-FI" sz="900" dirty="0"/>
            <a:t>Kieliohjelman laadinta</a:t>
          </a:r>
          <a:br>
            <a:rPr lang="fi-FI" sz="900" dirty="0"/>
          </a:br>
          <a:r>
            <a:rPr lang="fi-FI" sz="900" dirty="0"/>
            <a:t>Kielellisten oikeuksien toteutuminen  </a:t>
          </a:r>
        </a:p>
      </dgm:t>
    </dgm:pt>
    <dgm:pt modelId="{0E4713E3-094C-405F-97B8-7D638B4408F6}">
      <dgm:prSet phldrT="[Teksti]" custT="1"/>
      <dgm:spPr>
        <a:solidFill>
          <a:srgbClr val="23ACEC"/>
        </a:solidFill>
      </dgm:spPr>
      <dgm:t>
        <a:bodyPr/>
        <a:lstStyle/>
        <a:p>
          <a:r>
            <a:rPr lang="fi-FI" sz="1100" dirty="0"/>
            <a:t>Tarkastuslautakunta</a:t>
          </a:r>
        </a:p>
      </dgm:t>
    </dgm:pt>
    <dgm:pt modelId="{3179EB10-0F26-4C08-A5D7-C0995C000FDF}" type="parTrans" cxnId="{E0419FD8-1A50-4218-9C34-895FFA6904E0}">
      <dgm:prSet/>
      <dgm:spPr/>
      <dgm:t>
        <a:bodyPr/>
        <a:lstStyle/>
        <a:p>
          <a:endParaRPr lang="fi-FI"/>
        </a:p>
      </dgm:t>
    </dgm:pt>
    <dgm:pt modelId="{1DE2B05A-A836-428F-9C8F-BF04EB4E1353}" type="sibTrans" cxnId="{E0419FD8-1A50-4218-9C34-895FFA6904E0}">
      <dgm:prSet/>
      <dgm:spPr/>
      <dgm:t>
        <a:bodyPr/>
        <a:lstStyle/>
        <a:p>
          <a:r>
            <a:rPr lang="fi-FI" dirty="0"/>
            <a:t>Tarkastaa ja seuraa hyvinvointialueen toimintaa ja sen strategia toteutumista </a:t>
          </a:r>
        </a:p>
      </dgm:t>
    </dgm:pt>
    <dgm:pt modelId="{B9BB3785-40BB-40B2-9651-B57552D35C7D}">
      <dgm:prSet phldrT="[Teksti]" custT="1"/>
      <dgm:spPr/>
      <dgm:t>
        <a:bodyPr/>
        <a:lstStyle/>
        <a:p>
          <a:r>
            <a:rPr lang="fi-FI" sz="1200" dirty="0"/>
            <a:t>Edunvalvontajaosto</a:t>
          </a:r>
        </a:p>
      </dgm:t>
    </dgm:pt>
    <dgm:pt modelId="{D07841C0-1AE3-4FBB-BA7C-1708724D5FB1}" type="parTrans" cxnId="{9BB27A99-EB73-41A0-AA74-B71A40F67F48}">
      <dgm:prSet/>
      <dgm:spPr/>
      <dgm:t>
        <a:bodyPr/>
        <a:lstStyle/>
        <a:p>
          <a:endParaRPr lang="fi-FI"/>
        </a:p>
      </dgm:t>
    </dgm:pt>
    <dgm:pt modelId="{70236278-49E9-4E6D-8A30-1CD1ED9BC259}" type="sibTrans" cxnId="{9BB27A99-EB73-41A0-AA74-B71A40F67F48}">
      <dgm:prSet custT="1"/>
      <dgm:spPr/>
      <dgm:t>
        <a:bodyPr/>
        <a:lstStyle/>
        <a:p>
          <a:r>
            <a:rPr lang="fi-FI" sz="1050" dirty="0"/>
            <a:t>Tehtävät tarkentuvat</a:t>
          </a:r>
        </a:p>
      </dgm:t>
    </dgm:pt>
    <dgm:pt modelId="{B2FB48A7-F021-49F4-A852-F2F557D2B020}">
      <dgm:prSet phldrT="[Teksti]" custT="1"/>
      <dgm:spPr>
        <a:solidFill>
          <a:schemeClr val="accent2">
            <a:lumMod val="75000"/>
          </a:schemeClr>
        </a:solidFill>
      </dgm:spPr>
      <dgm:t>
        <a:bodyPr/>
        <a:lstStyle/>
        <a:p>
          <a:r>
            <a:rPr lang="fi-FI" sz="1050" dirty="0"/>
            <a:t>Pelastuslautakunta</a:t>
          </a:r>
        </a:p>
      </dgm:t>
    </dgm:pt>
    <dgm:pt modelId="{B8291800-B2A8-4F7D-8A13-7503583CC142}" type="sibTrans" cxnId="{3B76C383-B801-4C60-8513-6508BF066716}">
      <dgm:prSet custT="1"/>
      <dgm:spPr/>
      <dgm:t>
        <a:bodyPr/>
        <a:lstStyle/>
        <a:p>
          <a:r>
            <a:rPr lang="fi-FI" sz="1200" dirty="0"/>
            <a:t>Tehtäviä ei vielä määritelty</a:t>
          </a:r>
        </a:p>
      </dgm:t>
    </dgm:pt>
    <dgm:pt modelId="{4A055B0A-F8AC-4CC2-A261-69E4B9A7FAB0}" type="parTrans" cxnId="{3B76C383-B801-4C60-8513-6508BF066716}">
      <dgm:prSet/>
      <dgm:spPr/>
      <dgm:t>
        <a:bodyPr/>
        <a:lstStyle/>
        <a:p>
          <a:endParaRPr lang="fi-FI"/>
        </a:p>
      </dgm:t>
    </dgm:pt>
    <dgm:pt modelId="{DC9010C6-B3E0-44EE-AE2F-C97A56530174}">
      <dgm:prSet phldrT="[Teksti]" custT="1"/>
      <dgm:spPr/>
      <dgm:t>
        <a:bodyPr/>
        <a:lstStyle/>
        <a:p>
          <a:r>
            <a:rPr lang="fi-FI" sz="1100" dirty="0"/>
            <a:t>Lähidemokratia- ja osallisuuslautakunta</a:t>
          </a:r>
        </a:p>
      </dgm:t>
    </dgm:pt>
    <dgm:pt modelId="{04E1A80C-9007-47AD-A30C-006195B604D4}" type="parTrans" cxnId="{573A3A9B-D990-40A9-BF5D-8FF90B658B78}">
      <dgm:prSet/>
      <dgm:spPr/>
      <dgm:t>
        <a:bodyPr/>
        <a:lstStyle/>
        <a:p>
          <a:endParaRPr lang="fi-FI"/>
        </a:p>
      </dgm:t>
    </dgm:pt>
    <dgm:pt modelId="{D3360EE9-EA68-4D4F-AD90-E6F65EE69529}" type="sibTrans" cxnId="{573A3A9B-D990-40A9-BF5D-8FF90B658B78}">
      <dgm:prSet custT="1"/>
      <dgm:spPr/>
      <dgm:t>
        <a:bodyPr/>
        <a:lstStyle/>
        <a:p>
          <a:r>
            <a:rPr lang="fi-FI" sz="900" dirty="0"/>
            <a:t>Osallisuuden edistäminen</a:t>
          </a:r>
          <a:br>
            <a:rPr lang="fi-FI" sz="900" dirty="0"/>
          </a:br>
          <a:r>
            <a:rPr lang="fi-FI" sz="900" dirty="0"/>
            <a:t>Yhteistyö järjestöjen ja vaikuttamistoimielimien kanssa</a:t>
          </a:r>
          <a:br>
            <a:rPr lang="fi-FI" sz="900" dirty="0"/>
          </a:br>
          <a:r>
            <a:rPr lang="fi-FI" sz="900" dirty="0"/>
            <a:t>Vuorovaikutteisuus ja asiakaslähtöisyys </a:t>
          </a:r>
        </a:p>
        <a:p>
          <a:endParaRPr lang="fi-FI" sz="700" dirty="0"/>
        </a:p>
      </dgm:t>
    </dgm:pt>
    <dgm:pt modelId="{BE59439C-B28F-46CB-8605-D93C4205FAEE}">
      <dgm:prSet phldrT="[Teksti]" custT="1"/>
      <dgm:spPr>
        <a:solidFill>
          <a:schemeClr val="accent2">
            <a:lumMod val="75000"/>
          </a:schemeClr>
        </a:solidFill>
      </dgm:spPr>
      <dgm:t>
        <a:bodyPr/>
        <a:lstStyle/>
        <a:p>
          <a:r>
            <a:rPr lang="fi-FI" sz="1000" dirty="0"/>
            <a:t>Aluevaalilautakunta</a:t>
          </a:r>
          <a:endParaRPr lang="fi-FI" sz="800" dirty="0"/>
        </a:p>
      </dgm:t>
    </dgm:pt>
    <dgm:pt modelId="{6BA2AA15-C237-42FB-8B87-D7CC21728343}" type="parTrans" cxnId="{77986738-2F49-47CC-837E-FB3955F4B8F3}">
      <dgm:prSet/>
      <dgm:spPr/>
      <dgm:t>
        <a:bodyPr/>
        <a:lstStyle/>
        <a:p>
          <a:endParaRPr lang="fi-FI"/>
        </a:p>
      </dgm:t>
    </dgm:pt>
    <dgm:pt modelId="{E6AAC603-CDAA-41B6-A93E-4898CBFEAEFC}" type="sibTrans" cxnId="{77986738-2F49-47CC-837E-FB3955F4B8F3}">
      <dgm:prSet/>
      <dgm:spPr/>
      <dgm:t>
        <a:bodyPr/>
        <a:lstStyle/>
        <a:p>
          <a:r>
            <a:rPr lang="fi-FI" dirty="0"/>
            <a:t>Päättää aluevaaleihin liittyvistä asioista</a:t>
          </a:r>
        </a:p>
      </dgm:t>
    </dgm:pt>
    <dgm:pt modelId="{CD9A4F6B-A9EA-45E7-AAF1-25F4F0EFDEF4}">
      <dgm:prSet custT="1"/>
      <dgm:spPr/>
      <dgm:t>
        <a:bodyPr/>
        <a:lstStyle/>
        <a:p>
          <a:r>
            <a:rPr lang="fi-FI" sz="1400" dirty="0"/>
            <a:t>Vaikuttamistoimielimet</a:t>
          </a:r>
        </a:p>
      </dgm:t>
    </dgm:pt>
    <dgm:pt modelId="{04B6E06F-C27F-4F40-A516-49A9AF4F97EF}" type="parTrans" cxnId="{BC49961B-658C-4206-863C-CE128DAE204A}">
      <dgm:prSet/>
      <dgm:spPr/>
      <dgm:t>
        <a:bodyPr/>
        <a:lstStyle/>
        <a:p>
          <a:endParaRPr lang="fi-FI"/>
        </a:p>
      </dgm:t>
    </dgm:pt>
    <dgm:pt modelId="{6F9BA7AF-3023-4416-9BF5-A2F5FBD65D06}" type="sibTrans" cxnId="{BC49961B-658C-4206-863C-CE128DAE204A}">
      <dgm:prSet/>
      <dgm:spPr/>
      <dgm:t>
        <a:bodyPr/>
        <a:lstStyle/>
        <a:p>
          <a:r>
            <a:rPr lang="fi-FI" dirty="0"/>
            <a:t>Nuorisoneuvosto</a:t>
          </a:r>
        </a:p>
        <a:p>
          <a:r>
            <a:rPr lang="fi-FI" dirty="0"/>
            <a:t>Vammaisneuvosto</a:t>
          </a:r>
        </a:p>
        <a:p>
          <a:r>
            <a:rPr lang="fi-FI" dirty="0"/>
            <a:t>Vanhusneuvosto</a:t>
          </a:r>
        </a:p>
        <a:p>
          <a:r>
            <a:rPr lang="fi-FI" dirty="0"/>
            <a:t>Monikulttuurisuusasiain neuvottelukunta</a:t>
          </a:r>
        </a:p>
      </dgm:t>
    </dgm:pt>
    <dgm:pt modelId="{06000469-1A9F-4E23-9307-A2DAE99A5625}">
      <dgm:prSet custT="1"/>
      <dgm:spPr/>
      <dgm:t>
        <a:bodyPr/>
        <a:lstStyle/>
        <a:p>
          <a:r>
            <a:rPr lang="fi-FI" sz="1200" dirty="0"/>
            <a:t>Tulevaisuusjaostot</a:t>
          </a:r>
        </a:p>
      </dgm:t>
    </dgm:pt>
    <dgm:pt modelId="{590AB023-3F46-43FC-9C92-8744E260F5F9}" type="parTrans" cxnId="{C636D9FF-0CEE-4CF0-A6D4-05D9D0F0484D}">
      <dgm:prSet/>
      <dgm:spPr/>
      <dgm:t>
        <a:bodyPr/>
        <a:lstStyle/>
        <a:p>
          <a:endParaRPr lang="fi-FI"/>
        </a:p>
      </dgm:t>
    </dgm:pt>
    <dgm:pt modelId="{0CE34B5F-B6C3-4E03-8D6F-A018CF2D2953}" type="sibTrans" cxnId="{C636D9FF-0CEE-4CF0-A6D4-05D9D0F0484D}">
      <dgm:prSet custT="1"/>
      <dgm:spPr/>
      <dgm:t>
        <a:bodyPr/>
        <a:lstStyle/>
        <a:p>
          <a:r>
            <a:rPr lang="fi-FI" sz="1000" dirty="0"/>
            <a:t>Lasten, nuorten ja perheiden palvelut</a:t>
          </a:r>
        </a:p>
        <a:p>
          <a:r>
            <a:rPr lang="fi-FI" sz="1000" dirty="0"/>
            <a:t>Aikuissosiaalityö- ja vammaispalvelut</a:t>
          </a:r>
        </a:p>
        <a:p>
          <a:r>
            <a:rPr lang="fi-FI" sz="1000" dirty="0"/>
            <a:t>Terveydenhuollon palvelut</a:t>
          </a:r>
        </a:p>
        <a:p>
          <a:r>
            <a:rPr lang="fi-FI" sz="1000" dirty="0"/>
            <a:t>Vanhuspalvelut</a:t>
          </a:r>
        </a:p>
        <a:p>
          <a:r>
            <a:rPr lang="fi-FI" sz="700" dirty="0"/>
            <a:t> </a:t>
          </a:r>
        </a:p>
      </dgm:t>
    </dgm:pt>
    <dgm:pt modelId="{FD61BD25-71C2-4191-839F-8D592B801E0E}" type="pres">
      <dgm:prSet presAssocID="{74D4F800-9F83-4374-8FC0-38C3A718BC14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3699A48D-1C0D-46D2-9501-AECC098F5597}" type="pres">
      <dgm:prSet presAssocID="{71DFCD5C-F26E-46F3-ABBE-6F651DD03A3A}" presName="hierRoot1" presStyleCnt="0">
        <dgm:presLayoutVars>
          <dgm:hierBranch val="init"/>
        </dgm:presLayoutVars>
      </dgm:prSet>
      <dgm:spPr/>
    </dgm:pt>
    <dgm:pt modelId="{44FE94DB-E254-44D9-9605-0EC012AE2B92}" type="pres">
      <dgm:prSet presAssocID="{71DFCD5C-F26E-46F3-ABBE-6F651DD03A3A}" presName="rootComposite1" presStyleCnt="0"/>
      <dgm:spPr/>
    </dgm:pt>
    <dgm:pt modelId="{B3955F60-506E-4D9D-A5A7-A392BD946542}" type="pres">
      <dgm:prSet presAssocID="{71DFCD5C-F26E-46F3-ABBE-6F651DD03A3A}" presName="rootText1" presStyleLbl="node0" presStyleIdx="0" presStyleCnt="1" custScaleX="174500" custLinFactNeighborX="-4435" custLinFactNeighborY="-97086">
        <dgm:presLayoutVars>
          <dgm:chMax/>
          <dgm:chPref val="3"/>
        </dgm:presLayoutVars>
      </dgm:prSet>
      <dgm:spPr/>
    </dgm:pt>
    <dgm:pt modelId="{98EBD8F6-95C3-4B30-B24A-D8B8C8D5480A}" type="pres">
      <dgm:prSet presAssocID="{71DFCD5C-F26E-46F3-ABBE-6F651DD03A3A}" presName="titleText1" presStyleLbl="fgAcc0" presStyleIdx="0" presStyleCnt="1" custScaleX="188277" custScaleY="527128" custLinFactNeighborX="-18487" custLinFactNeighborY="-72371">
        <dgm:presLayoutVars>
          <dgm:chMax val="0"/>
          <dgm:chPref val="0"/>
        </dgm:presLayoutVars>
      </dgm:prSet>
      <dgm:spPr/>
    </dgm:pt>
    <dgm:pt modelId="{EC8CA4FC-5BD5-42A4-91B8-3B40E2588334}" type="pres">
      <dgm:prSet presAssocID="{71DFCD5C-F26E-46F3-ABBE-6F651DD03A3A}" presName="rootConnector1" presStyleLbl="node1" presStyleIdx="0" presStyleCnt="10"/>
      <dgm:spPr/>
    </dgm:pt>
    <dgm:pt modelId="{22BEB091-DFCC-44E8-8BE6-60DEF2065A1A}" type="pres">
      <dgm:prSet presAssocID="{71DFCD5C-F26E-46F3-ABBE-6F651DD03A3A}" presName="hierChild2" presStyleCnt="0"/>
      <dgm:spPr/>
    </dgm:pt>
    <dgm:pt modelId="{E8F6D2D6-8B38-4099-86D2-E8EF26DE4363}" type="pres">
      <dgm:prSet presAssocID="{DA47CF47-0784-4D6D-B395-5A5FFD523745}" presName="Name37" presStyleLbl="parChTrans1D2" presStyleIdx="0" presStyleCnt="3"/>
      <dgm:spPr/>
    </dgm:pt>
    <dgm:pt modelId="{9B5A92D1-A665-4878-B86C-016BA3D5DA2C}" type="pres">
      <dgm:prSet presAssocID="{12368A09-E494-4DA0-BE26-68DBFCC5A6DF}" presName="hierRoot2" presStyleCnt="0">
        <dgm:presLayoutVars>
          <dgm:hierBranch val="init"/>
        </dgm:presLayoutVars>
      </dgm:prSet>
      <dgm:spPr/>
    </dgm:pt>
    <dgm:pt modelId="{CEAFC098-A2A2-4940-A2DC-BA204E8CA234}" type="pres">
      <dgm:prSet presAssocID="{12368A09-E494-4DA0-BE26-68DBFCC5A6DF}" presName="rootComposite" presStyleCnt="0"/>
      <dgm:spPr/>
    </dgm:pt>
    <dgm:pt modelId="{85CC8493-3286-4372-A981-2ACEC7BF561D}" type="pres">
      <dgm:prSet presAssocID="{12368A09-E494-4DA0-BE26-68DBFCC5A6DF}" presName="rootText" presStyleLbl="node1" presStyleIdx="0" presStyleCnt="10" custLinFactNeighborX="-1458" custLinFactNeighborY="-50689">
        <dgm:presLayoutVars>
          <dgm:chMax/>
          <dgm:chPref val="3"/>
        </dgm:presLayoutVars>
      </dgm:prSet>
      <dgm:spPr/>
    </dgm:pt>
    <dgm:pt modelId="{0200B958-ED26-4DA0-8848-DD6896CA1876}" type="pres">
      <dgm:prSet presAssocID="{12368A09-E494-4DA0-BE26-68DBFCC5A6DF}" presName="titleText2" presStyleLbl="fgAcc1" presStyleIdx="0" presStyleCnt="10" custScaleX="105008" custScaleY="258727" custLinFactNeighborX="-17338" custLinFactNeighborY="-86544">
        <dgm:presLayoutVars>
          <dgm:chMax val="0"/>
          <dgm:chPref val="0"/>
        </dgm:presLayoutVars>
      </dgm:prSet>
      <dgm:spPr/>
    </dgm:pt>
    <dgm:pt modelId="{9227015C-5A04-48B4-A128-6E0F822F2EFF}" type="pres">
      <dgm:prSet presAssocID="{12368A09-E494-4DA0-BE26-68DBFCC5A6DF}" presName="rootConnector" presStyleLbl="node2" presStyleIdx="0" presStyleCnt="0"/>
      <dgm:spPr/>
    </dgm:pt>
    <dgm:pt modelId="{D090D6DD-FC1F-45E2-9358-21E1E6EC59B5}" type="pres">
      <dgm:prSet presAssocID="{12368A09-E494-4DA0-BE26-68DBFCC5A6DF}" presName="hierChild4" presStyleCnt="0"/>
      <dgm:spPr/>
    </dgm:pt>
    <dgm:pt modelId="{3261AE55-5E12-4053-8DDB-3EC712BEB1E3}" type="pres">
      <dgm:prSet presAssocID="{D89F6611-F552-4037-9A92-7CBA4DE65088}" presName="Name37" presStyleLbl="parChTrans1D3" presStyleIdx="0" presStyleCnt="7"/>
      <dgm:spPr/>
    </dgm:pt>
    <dgm:pt modelId="{B9FAFA7C-0180-455D-BC7A-0B8F84BC4D67}" type="pres">
      <dgm:prSet presAssocID="{A68A7D00-0F6F-4C4D-927F-BB17BD44AA33}" presName="hierRoot2" presStyleCnt="0">
        <dgm:presLayoutVars>
          <dgm:hierBranch val="init"/>
        </dgm:presLayoutVars>
      </dgm:prSet>
      <dgm:spPr/>
    </dgm:pt>
    <dgm:pt modelId="{167AB386-E98A-4CCE-88A6-4F934E7AD4B4}" type="pres">
      <dgm:prSet presAssocID="{A68A7D00-0F6F-4C4D-927F-BB17BD44AA33}" presName="rootComposite" presStyleCnt="0"/>
      <dgm:spPr/>
    </dgm:pt>
    <dgm:pt modelId="{B0FACB75-8E4B-4476-AE5C-1502766FBCA1}" type="pres">
      <dgm:prSet presAssocID="{A68A7D00-0F6F-4C4D-927F-BB17BD44AA33}" presName="rootText" presStyleLbl="node1" presStyleIdx="1" presStyleCnt="10" custLinFactX="100000" custLinFactY="-200000" custLinFactNeighborX="135234" custLinFactNeighborY="-238322">
        <dgm:presLayoutVars>
          <dgm:chMax/>
          <dgm:chPref val="3"/>
        </dgm:presLayoutVars>
      </dgm:prSet>
      <dgm:spPr/>
    </dgm:pt>
    <dgm:pt modelId="{ABBCEB66-23CB-4813-9859-803A4601923A}" type="pres">
      <dgm:prSet presAssocID="{A68A7D00-0F6F-4C4D-927F-BB17BD44AA33}" presName="titleText2" presStyleLbl="fgAcc1" presStyleIdx="1" presStyleCnt="10" custScaleX="125981" custScaleY="397102" custLinFactX="100000" custLinFactY="-563610" custLinFactNeighborX="143437" custLinFactNeighborY="-600000">
        <dgm:presLayoutVars>
          <dgm:chMax val="0"/>
          <dgm:chPref val="0"/>
        </dgm:presLayoutVars>
      </dgm:prSet>
      <dgm:spPr/>
    </dgm:pt>
    <dgm:pt modelId="{C62CB429-1867-4BE2-919E-11FA8D3E0ABD}" type="pres">
      <dgm:prSet presAssocID="{A68A7D00-0F6F-4C4D-927F-BB17BD44AA33}" presName="rootConnector" presStyleLbl="node3" presStyleIdx="0" presStyleCnt="0"/>
      <dgm:spPr/>
    </dgm:pt>
    <dgm:pt modelId="{3723253B-276A-4555-91B0-E2079B6ADC2E}" type="pres">
      <dgm:prSet presAssocID="{A68A7D00-0F6F-4C4D-927F-BB17BD44AA33}" presName="hierChild4" presStyleCnt="0"/>
      <dgm:spPr/>
    </dgm:pt>
    <dgm:pt modelId="{92AA9D9B-E2AE-4EC0-B1B4-244F8399E43E}" type="pres">
      <dgm:prSet presAssocID="{A68A7D00-0F6F-4C4D-927F-BB17BD44AA33}" presName="hierChild5" presStyleCnt="0"/>
      <dgm:spPr/>
    </dgm:pt>
    <dgm:pt modelId="{9BE7AF04-B0FC-4A72-A94F-BFCDFEFFA8B1}" type="pres">
      <dgm:prSet presAssocID="{A585F1A3-827B-45D6-B5FC-D2FDAD1EA6A6}" presName="Name37" presStyleLbl="parChTrans1D3" presStyleIdx="1" presStyleCnt="7"/>
      <dgm:spPr/>
    </dgm:pt>
    <dgm:pt modelId="{F17E6DF4-42BB-4196-98DE-7DA8C47ED13D}" type="pres">
      <dgm:prSet presAssocID="{3AE6697D-694C-416B-9275-3CAFB5A7E7BD}" presName="hierRoot2" presStyleCnt="0">
        <dgm:presLayoutVars>
          <dgm:hierBranch val="init"/>
        </dgm:presLayoutVars>
      </dgm:prSet>
      <dgm:spPr/>
    </dgm:pt>
    <dgm:pt modelId="{95AB194A-8BEE-4DE7-8491-4112E9016DF8}" type="pres">
      <dgm:prSet presAssocID="{3AE6697D-694C-416B-9275-3CAFB5A7E7BD}" presName="rootComposite" presStyleCnt="0"/>
      <dgm:spPr/>
    </dgm:pt>
    <dgm:pt modelId="{DA3DC7E7-1EDB-4DBD-9817-BD2340D469AA}" type="pres">
      <dgm:prSet presAssocID="{3AE6697D-694C-416B-9275-3CAFB5A7E7BD}" presName="rootText" presStyleLbl="node1" presStyleIdx="2" presStyleCnt="10" custScaleX="137162" custScaleY="121583" custLinFactY="-18547" custLinFactNeighborX="-4358" custLinFactNeighborY="-100000">
        <dgm:presLayoutVars>
          <dgm:chMax/>
          <dgm:chPref val="3"/>
        </dgm:presLayoutVars>
      </dgm:prSet>
      <dgm:spPr/>
    </dgm:pt>
    <dgm:pt modelId="{A31C4990-C806-4BAE-A2D4-CC90C8F575FB}" type="pres">
      <dgm:prSet presAssocID="{3AE6697D-694C-416B-9275-3CAFB5A7E7BD}" presName="titleText2" presStyleLbl="fgAcc1" presStyleIdx="2" presStyleCnt="10" custScaleX="145358" custScaleY="470474" custLinFactY="-28818" custLinFactNeighborX="-21589" custLinFactNeighborY="-100000">
        <dgm:presLayoutVars>
          <dgm:chMax val="0"/>
          <dgm:chPref val="0"/>
        </dgm:presLayoutVars>
      </dgm:prSet>
      <dgm:spPr/>
    </dgm:pt>
    <dgm:pt modelId="{96AA3239-5E29-47C7-A00A-0C9686A9D49B}" type="pres">
      <dgm:prSet presAssocID="{3AE6697D-694C-416B-9275-3CAFB5A7E7BD}" presName="rootConnector" presStyleLbl="node3" presStyleIdx="0" presStyleCnt="0"/>
      <dgm:spPr/>
    </dgm:pt>
    <dgm:pt modelId="{3D05C6A7-3815-4605-A247-0EEF43063421}" type="pres">
      <dgm:prSet presAssocID="{3AE6697D-694C-416B-9275-3CAFB5A7E7BD}" presName="hierChild4" presStyleCnt="0"/>
      <dgm:spPr/>
    </dgm:pt>
    <dgm:pt modelId="{DF615FC7-EA58-4227-A416-0567844B6907}" type="pres">
      <dgm:prSet presAssocID="{3AE6697D-694C-416B-9275-3CAFB5A7E7BD}" presName="hierChild5" presStyleCnt="0"/>
      <dgm:spPr/>
    </dgm:pt>
    <dgm:pt modelId="{8F414B1B-494C-4732-9A4E-D17421266E8B}" type="pres">
      <dgm:prSet presAssocID="{D07841C0-1AE3-4FBB-BA7C-1708724D5FB1}" presName="Name37" presStyleLbl="parChTrans1D3" presStyleIdx="2" presStyleCnt="7"/>
      <dgm:spPr/>
    </dgm:pt>
    <dgm:pt modelId="{12007B07-F92F-48F8-910F-F3D7C4B9DB45}" type="pres">
      <dgm:prSet presAssocID="{B9BB3785-40BB-40B2-9651-B57552D35C7D}" presName="hierRoot2" presStyleCnt="0">
        <dgm:presLayoutVars>
          <dgm:hierBranch val="init"/>
        </dgm:presLayoutVars>
      </dgm:prSet>
      <dgm:spPr/>
    </dgm:pt>
    <dgm:pt modelId="{9F062B42-66C8-47BB-92EC-D3F09D2F7258}" type="pres">
      <dgm:prSet presAssocID="{B9BB3785-40BB-40B2-9651-B57552D35C7D}" presName="rootComposite" presStyleCnt="0"/>
      <dgm:spPr/>
    </dgm:pt>
    <dgm:pt modelId="{F4E8E994-15E8-446B-9BA7-8D9DD72A03D5}" type="pres">
      <dgm:prSet presAssocID="{B9BB3785-40BB-40B2-9651-B57552D35C7D}" presName="rootText" presStyleLbl="node1" presStyleIdx="3" presStyleCnt="10" custScaleX="132058">
        <dgm:presLayoutVars>
          <dgm:chMax/>
          <dgm:chPref val="3"/>
        </dgm:presLayoutVars>
      </dgm:prSet>
      <dgm:spPr/>
    </dgm:pt>
    <dgm:pt modelId="{6E5D5F96-72D0-4BA8-8581-7FE93A846F02}" type="pres">
      <dgm:prSet presAssocID="{B9BB3785-40BB-40B2-9651-B57552D35C7D}" presName="titleText2" presStyleLbl="fgAcc1" presStyleIdx="3" presStyleCnt="10" custScaleX="122164" custScaleY="210989" custLinFactNeighborX="-16542" custLinFactNeighborY="2765">
        <dgm:presLayoutVars>
          <dgm:chMax val="0"/>
          <dgm:chPref val="0"/>
        </dgm:presLayoutVars>
      </dgm:prSet>
      <dgm:spPr/>
    </dgm:pt>
    <dgm:pt modelId="{8337BED5-EFBA-49B5-BE8D-8022A0ABEA29}" type="pres">
      <dgm:prSet presAssocID="{B9BB3785-40BB-40B2-9651-B57552D35C7D}" presName="rootConnector" presStyleLbl="node3" presStyleIdx="0" presStyleCnt="0"/>
      <dgm:spPr/>
    </dgm:pt>
    <dgm:pt modelId="{26586F6B-0A38-4C1F-A6E5-5EE7C26F63C5}" type="pres">
      <dgm:prSet presAssocID="{B9BB3785-40BB-40B2-9651-B57552D35C7D}" presName="hierChild4" presStyleCnt="0"/>
      <dgm:spPr/>
    </dgm:pt>
    <dgm:pt modelId="{63184887-818A-4F21-81FF-F182F02D7B80}" type="pres">
      <dgm:prSet presAssocID="{B9BB3785-40BB-40B2-9651-B57552D35C7D}" presName="hierChild5" presStyleCnt="0"/>
      <dgm:spPr/>
    </dgm:pt>
    <dgm:pt modelId="{D03EAFE4-7D6E-4CFB-99B1-3AE44293D59A}" type="pres">
      <dgm:prSet presAssocID="{4A055B0A-F8AC-4CC2-A261-69E4B9A7FAB0}" presName="Name37" presStyleLbl="parChTrans1D3" presStyleIdx="3" presStyleCnt="7"/>
      <dgm:spPr/>
    </dgm:pt>
    <dgm:pt modelId="{7BB0D866-347F-4F5A-BBDC-7579CD221D92}" type="pres">
      <dgm:prSet presAssocID="{B2FB48A7-F021-49F4-A852-F2F557D2B020}" presName="hierRoot2" presStyleCnt="0">
        <dgm:presLayoutVars>
          <dgm:hierBranch val="init"/>
        </dgm:presLayoutVars>
      </dgm:prSet>
      <dgm:spPr/>
    </dgm:pt>
    <dgm:pt modelId="{D658CE1D-4F3D-4D2B-A24D-A7BD0429F80C}" type="pres">
      <dgm:prSet presAssocID="{B2FB48A7-F021-49F4-A852-F2F557D2B020}" presName="rootComposite" presStyleCnt="0"/>
      <dgm:spPr/>
    </dgm:pt>
    <dgm:pt modelId="{3AFFEA35-F27E-4E12-AC1B-E3B430512200}" type="pres">
      <dgm:prSet presAssocID="{B2FB48A7-F021-49F4-A852-F2F557D2B020}" presName="rootText" presStyleLbl="node1" presStyleIdx="4" presStyleCnt="10" custScaleX="116951" custLinFactNeighborY="65922">
        <dgm:presLayoutVars>
          <dgm:chMax/>
          <dgm:chPref val="3"/>
        </dgm:presLayoutVars>
      </dgm:prSet>
      <dgm:spPr/>
    </dgm:pt>
    <dgm:pt modelId="{DA172914-2B05-4BCE-9255-78CB276523DC}" type="pres">
      <dgm:prSet presAssocID="{B2FB48A7-F021-49F4-A852-F2F557D2B020}" presName="titleText2" presStyleLbl="fgAcc1" presStyleIdx="4" presStyleCnt="10" custScaleX="121586" custScaleY="364016" custLinFactY="153894" custLinFactNeighborX="-21702" custLinFactNeighborY="200000">
        <dgm:presLayoutVars>
          <dgm:chMax val="0"/>
          <dgm:chPref val="0"/>
        </dgm:presLayoutVars>
      </dgm:prSet>
      <dgm:spPr/>
    </dgm:pt>
    <dgm:pt modelId="{B9297D4A-CD77-46FA-AEB1-3E54C0003859}" type="pres">
      <dgm:prSet presAssocID="{B2FB48A7-F021-49F4-A852-F2F557D2B020}" presName="rootConnector" presStyleLbl="node3" presStyleIdx="0" presStyleCnt="0"/>
      <dgm:spPr/>
    </dgm:pt>
    <dgm:pt modelId="{1EC244BD-A49F-457C-AF8F-2C6F6B8329EE}" type="pres">
      <dgm:prSet presAssocID="{B2FB48A7-F021-49F4-A852-F2F557D2B020}" presName="hierChild4" presStyleCnt="0"/>
      <dgm:spPr/>
    </dgm:pt>
    <dgm:pt modelId="{15A79FDC-AF7F-4306-860F-FE94D28F07A9}" type="pres">
      <dgm:prSet presAssocID="{B2FB48A7-F021-49F4-A852-F2F557D2B020}" presName="hierChild5" presStyleCnt="0"/>
      <dgm:spPr/>
    </dgm:pt>
    <dgm:pt modelId="{CC835957-B959-4F3F-B101-867CBE20C159}" type="pres">
      <dgm:prSet presAssocID="{04E1A80C-9007-47AD-A30C-006195B604D4}" presName="Name37" presStyleLbl="parChTrans1D3" presStyleIdx="4" presStyleCnt="7"/>
      <dgm:spPr/>
    </dgm:pt>
    <dgm:pt modelId="{6496A025-EC2F-445B-BE45-2F8729C1D5B2}" type="pres">
      <dgm:prSet presAssocID="{DC9010C6-B3E0-44EE-AE2F-C97A56530174}" presName="hierRoot2" presStyleCnt="0">
        <dgm:presLayoutVars>
          <dgm:hierBranch val="init"/>
        </dgm:presLayoutVars>
      </dgm:prSet>
      <dgm:spPr/>
    </dgm:pt>
    <dgm:pt modelId="{C0EB2567-55DA-4BC9-9C14-681D72309CF3}" type="pres">
      <dgm:prSet presAssocID="{DC9010C6-B3E0-44EE-AE2F-C97A56530174}" presName="rootComposite" presStyleCnt="0"/>
      <dgm:spPr/>
    </dgm:pt>
    <dgm:pt modelId="{9FF9F62F-1A8D-4FE5-ACFE-70B9294F20E9}" type="pres">
      <dgm:prSet presAssocID="{DC9010C6-B3E0-44EE-AE2F-C97A56530174}" presName="rootText" presStyleLbl="node1" presStyleIdx="5" presStyleCnt="10" custScaleX="118202" custLinFactY="16164" custLinFactNeighborX="6973" custLinFactNeighborY="100000">
        <dgm:presLayoutVars>
          <dgm:chMax/>
          <dgm:chPref val="3"/>
        </dgm:presLayoutVars>
      </dgm:prSet>
      <dgm:spPr/>
    </dgm:pt>
    <dgm:pt modelId="{FE01EC76-4BC0-41B0-84A6-395E9BEF47BC}" type="pres">
      <dgm:prSet presAssocID="{DC9010C6-B3E0-44EE-AE2F-C97A56530174}" presName="titleText2" presStyleLbl="fgAcc1" presStyleIdx="5" presStyleCnt="10" custScaleX="135047" custScaleY="628901" custLinFactY="300000" custLinFactNeighborX="-11337" custLinFactNeighborY="331826">
        <dgm:presLayoutVars>
          <dgm:chMax val="0"/>
          <dgm:chPref val="0"/>
        </dgm:presLayoutVars>
      </dgm:prSet>
      <dgm:spPr/>
    </dgm:pt>
    <dgm:pt modelId="{CAE542D8-BB3D-4BFA-B431-57F25F43F6D2}" type="pres">
      <dgm:prSet presAssocID="{DC9010C6-B3E0-44EE-AE2F-C97A56530174}" presName="rootConnector" presStyleLbl="node3" presStyleIdx="0" presStyleCnt="0"/>
      <dgm:spPr/>
    </dgm:pt>
    <dgm:pt modelId="{424C9631-1E46-4042-A020-80E14509AE38}" type="pres">
      <dgm:prSet presAssocID="{DC9010C6-B3E0-44EE-AE2F-C97A56530174}" presName="hierChild4" presStyleCnt="0"/>
      <dgm:spPr/>
    </dgm:pt>
    <dgm:pt modelId="{32F9CD2B-1C9A-4C1D-9AF9-CDD9BFB507AF}" type="pres">
      <dgm:prSet presAssocID="{DC9010C6-B3E0-44EE-AE2F-C97A56530174}" presName="hierChild5" presStyleCnt="0"/>
      <dgm:spPr/>
    </dgm:pt>
    <dgm:pt modelId="{970FD034-5842-4C79-A5EB-C7B91D1E4922}" type="pres">
      <dgm:prSet presAssocID="{04B6E06F-C27F-4F40-A516-49A9AF4F97EF}" presName="Name37" presStyleLbl="parChTrans1D3" presStyleIdx="5" presStyleCnt="7"/>
      <dgm:spPr/>
    </dgm:pt>
    <dgm:pt modelId="{81446B16-E054-40E5-B4A8-BA01DD37D4A6}" type="pres">
      <dgm:prSet presAssocID="{CD9A4F6B-A9EA-45E7-AAF1-25F4F0EFDEF4}" presName="hierRoot2" presStyleCnt="0">
        <dgm:presLayoutVars>
          <dgm:hierBranch val="init"/>
        </dgm:presLayoutVars>
      </dgm:prSet>
      <dgm:spPr/>
    </dgm:pt>
    <dgm:pt modelId="{7E06EB7B-9342-4FFA-B43C-62FB674843E6}" type="pres">
      <dgm:prSet presAssocID="{CD9A4F6B-A9EA-45E7-AAF1-25F4F0EFDEF4}" presName="rootComposite" presStyleCnt="0"/>
      <dgm:spPr/>
    </dgm:pt>
    <dgm:pt modelId="{6C464F9B-1628-42E3-B582-9F22ADC2A1D1}" type="pres">
      <dgm:prSet presAssocID="{CD9A4F6B-A9EA-45E7-AAF1-25F4F0EFDEF4}" presName="rootText" presStyleLbl="node1" presStyleIdx="6" presStyleCnt="10" custScaleX="129208">
        <dgm:presLayoutVars>
          <dgm:chMax/>
          <dgm:chPref val="3"/>
        </dgm:presLayoutVars>
      </dgm:prSet>
      <dgm:spPr/>
    </dgm:pt>
    <dgm:pt modelId="{C1D68CE8-BFF0-4641-9EFD-9635DD82C560}" type="pres">
      <dgm:prSet presAssocID="{CD9A4F6B-A9EA-45E7-AAF1-25F4F0EFDEF4}" presName="titleText2" presStyleLbl="fgAcc1" presStyleIdx="6" presStyleCnt="10" custScaleX="161582" custScaleY="876377" custLinFactY="196859" custLinFactNeighborX="-11282" custLinFactNeighborY="200000">
        <dgm:presLayoutVars>
          <dgm:chMax val="0"/>
          <dgm:chPref val="0"/>
        </dgm:presLayoutVars>
      </dgm:prSet>
      <dgm:spPr/>
    </dgm:pt>
    <dgm:pt modelId="{F5AF42EC-B063-40F8-B90C-FDD40262B7AF}" type="pres">
      <dgm:prSet presAssocID="{CD9A4F6B-A9EA-45E7-AAF1-25F4F0EFDEF4}" presName="rootConnector" presStyleLbl="node3" presStyleIdx="0" presStyleCnt="0"/>
      <dgm:spPr/>
    </dgm:pt>
    <dgm:pt modelId="{9F5F78B3-5148-4482-B7B8-85BC118B1237}" type="pres">
      <dgm:prSet presAssocID="{CD9A4F6B-A9EA-45E7-AAF1-25F4F0EFDEF4}" presName="hierChild4" presStyleCnt="0"/>
      <dgm:spPr/>
    </dgm:pt>
    <dgm:pt modelId="{E5DA0151-E7DA-4B76-B755-2B634A1F4247}" type="pres">
      <dgm:prSet presAssocID="{CD9A4F6B-A9EA-45E7-AAF1-25F4F0EFDEF4}" presName="hierChild5" presStyleCnt="0"/>
      <dgm:spPr/>
    </dgm:pt>
    <dgm:pt modelId="{6C6FFD59-5CAA-4849-9CBB-05E172DD3B76}" type="pres">
      <dgm:prSet presAssocID="{590AB023-3F46-43FC-9C92-8744E260F5F9}" presName="Name37" presStyleLbl="parChTrans1D3" presStyleIdx="6" presStyleCnt="7"/>
      <dgm:spPr/>
    </dgm:pt>
    <dgm:pt modelId="{9A2C7FA2-F3A8-4879-816B-F7688C45D0F7}" type="pres">
      <dgm:prSet presAssocID="{06000469-1A9F-4E23-9307-A2DAE99A5625}" presName="hierRoot2" presStyleCnt="0">
        <dgm:presLayoutVars>
          <dgm:hierBranch val="init"/>
        </dgm:presLayoutVars>
      </dgm:prSet>
      <dgm:spPr/>
    </dgm:pt>
    <dgm:pt modelId="{F1CF32CD-7FA3-47CC-940C-1896077217D0}" type="pres">
      <dgm:prSet presAssocID="{06000469-1A9F-4E23-9307-A2DAE99A5625}" presName="rootComposite" presStyleCnt="0"/>
      <dgm:spPr/>
    </dgm:pt>
    <dgm:pt modelId="{27EA4E38-0157-47AC-BA1F-3D21E3CDEDCE}" type="pres">
      <dgm:prSet presAssocID="{06000469-1A9F-4E23-9307-A2DAE99A5625}" presName="rootText" presStyleLbl="node1" presStyleIdx="7" presStyleCnt="10" custScaleX="130148" custScaleY="108275" custLinFactNeighborX="2832" custLinFactNeighborY="3312">
        <dgm:presLayoutVars>
          <dgm:chMax/>
          <dgm:chPref val="3"/>
        </dgm:presLayoutVars>
      </dgm:prSet>
      <dgm:spPr/>
    </dgm:pt>
    <dgm:pt modelId="{51341394-568D-4589-9786-3D0CECFAD2C1}" type="pres">
      <dgm:prSet presAssocID="{06000469-1A9F-4E23-9307-A2DAE99A5625}" presName="titleText2" presStyleLbl="fgAcc1" presStyleIdx="7" presStyleCnt="10" custScaleX="141937" custScaleY="789259" custLinFactY="154736" custLinFactNeighborX="-10415" custLinFactNeighborY="200000">
        <dgm:presLayoutVars>
          <dgm:chMax val="0"/>
          <dgm:chPref val="0"/>
        </dgm:presLayoutVars>
      </dgm:prSet>
      <dgm:spPr/>
    </dgm:pt>
    <dgm:pt modelId="{EC8121EE-8DC2-42A3-9ADE-1B8BD4F9DB15}" type="pres">
      <dgm:prSet presAssocID="{06000469-1A9F-4E23-9307-A2DAE99A5625}" presName="rootConnector" presStyleLbl="node3" presStyleIdx="0" presStyleCnt="0"/>
      <dgm:spPr/>
    </dgm:pt>
    <dgm:pt modelId="{E55C99C6-ED53-4E69-982E-EBAC8954345D}" type="pres">
      <dgm:prSet presAssocID="{06000469-1A9F-4E23-9307-A2DAE99A5625}" presName="hierChild4" presStyleCnt="0"/>
      <dgm:spPr/>
    </dgm:pt>
    <dgm:pt modelId="{8EB48BE2-C5EA-4D32-8BBF-A027974D7171}" type="pres">
      <dgm:prSet presAssocID="{06000469-1A9F-4E23-9307-A2DAE99A5625}" presName="hierChild5" presStyleCnt="0"/>
      <dgm:spPr/>
    </dgm:pt>
    <dgm:pt modelId="{909440D4-6F13-4424-9E75-D8A8F541115B}" type="pres">
      <dgm:prSet presAssocID="{12368A09-E494-4DA0-BE26-68DBFCC5A6DF}" presName="hierChild5" presStyleCnt="0"/>
      <dgm:spPr/>
    </dgm:pt>
    <dgm:pt modelId="{C438932D-A0FA-467F-A8AA-928202CE55C4}" type="pres">
      <dgm:prSet presAssocID="{3179EB10-0F26-4C08-A5D7-C0995C000FDF}" presName="Name37" presStyleLbl="parChTrans1D2" presStyleIdx="1" presStyleCnt="3"/>
      <dgm:spPr/>
    </dgm:pt>
    <dgm:pt modelId="{DF2158F1-7FAB-4026-8AD3-F3F3E45638F7}" type="pres">
      <dgm:prSet presAssocID="{0E4713E3-094C-405F-97B8-7D638B4408F6}" presName="hierRoot2" presStyleCnt="0">
        <dgm:presLayoutVars>
          <dgm:hierBranch val="init"/>
        </dgm:presLayoutVars>
      </dgm:prSet>
      <dgm:spPr/>
    </dgm:pt>
    <dgm:pt modelId="{95B2ACDA-3C23-4B0C-A1C4-697CB9B8DCB2}" type="pres">
      <dgm:prSet presAssocID="{0E4713E3-094C-405F-97B8-7D638B4408F6}" presName="rootComposite" presStyleCnt="0"/>
      <dgm:spPr/>
    </dgm:pt>
    <dgm:pt modelId="{7E29A087-647C-4929-86E6-3802A316DA51}" type="pres">
      <dgm:prSet presAssocID="{0E4713E3-094C-405F-97B8-7D638B4408F6}" presName="rootText" presStyleLbl="node1" presStyleIdx="8" presStyleCnt="10" custScaleX="113811">
        <dgm:presLayoutVars>
          <dgm:chMax/>
          <dgm:chPref val="3"/>
        </dgm:presLayoutVars>
      </dgm:prSet>
      <dgm:spPr/>
    </dgm:pt>
    <dgm:pt modelId="{C385E9DF-B7B3-4E15-BB05-48ED2DF67BF0}" type="pres">
      <dgm:prSet presAssocID="{0E4713E3-094C-405F-97B8-7D638B4408F6}" presName="titleText2" presStyleLbl="fgAcc1" presStyleIdx="8" presStyleCnt="10" custScaleX="134348" custScaleY="381443" custLinFactY="70503" custLinFactNeighborX="-9856" custLinFactNeighborY="100000">
        <dgm:presLayoutVars>
          <dgm:chMax val="0"/>
          <dgm:chPref val="0"/>
        </dgm:presLayoutVars>
      </dgm:prSet>
      <dgm:spPr/>
    </dgm:pt>
    <dgm:pt modelId="{D875188F-7F54-4A25-9393-423C2DABD5A5}" type="pres">
      <dgm:prSet presAssocID="{0E4713E3-094C-405F-97B8-7D638B4408F6}" presName="rootConnector" presStyleLbl="node2" presStyleIdx="0" presStyleCnt="0"/>
      <dgm:spPr/>
    </dgm:pt>
    <dgm:pt modelId="{F9C7A992-C382-471A-AF9A-6EBB807F74D2}" type="pres">
      <dgm:prSet presAssocID="{0E4713E3-094C-405F-97B8-7D638B4408F6}" presName="hierChild4" presStyleCnt="0"/>
      <dgm:spPr/>
    </dgm:pt>
    <dgm:pt modelId="{6BE3001F-5680-4824-A9A1-38D608887185}" type="pres">
      <dgm:prSet presAssocID="{0E4713E3-094C-405F-97B8-7D638B4408F6}" presName="hierChild5" presStyleCnt="0"/>
      <dgm:spPr/>
    </dgm:pt>
    <dgm:pt modelId="{8A63A760-A62E-4261-A449-3177D33B6E1A}" type="pres">
      <dgm:prSet presAssocID="{6BA2AA15-C237-42FB-8B87-D7CC21728343}" presName="Name37" presStyleLbl="parChTrans1D2" presStyleIdx="2" presStyleCnt="3"/>
      <dgm:spPr/>
    </dgm:pt>
    <dgm:pt modelId="{B5AE4070-CBEB-4656-AE9A-4AAC86885076}" type="pres">
      <dgm:prSet presAssocID="{BE59439C-B28F-46CB-8605-D93C4205FAEE}" presName="hierRoot2" presStyleCnt="0">
        <dgm:presLayoutVars>
          <dgm:hierBranch val="init"/>
        </dgm:presLayoutVars>
      </dgm:prSet>
      <dgm:spPr/>
    </dgm:pt>
    <dgm:pt modelId="{8D7ABBE2-0F77-4B6F-B4F4-654D21BBD792}" type="pres">
      <dgm:prSet presAssocID="{BE59439C-B28F-46CB-8605-D93C4205FAEE}" presName="rootComposite" presStyleCnt="0"/>
      <dgm:spPr/>
    </dgm:pt>
    <dgm:pt modelId="{F21CFC41-3FE9-40C1-A74E-65E07F044F6C}" type="pres">
      <dgm:prSet presAssocID="{BE59439C-B28F-46CB-8605-D93C4205FAEE}" presName="rootText" presStyleLbl="node1" presStyleIdx="9" presStyleCnt="10" custScaleX="126830" custLinFactNeighborX="1079" custLinFactNeighborY="1172">
        <dgm:presLayoutVars>
          <dgm:chMax/>
          <dgm:chPref val="3"/>
        </dgm:presLayoutVars>
      </dgm:prSet>
      <dgm:spPr/>
    </dgm:pt>
    <dgm:pt modelId="{46472ACF-A3EE-4856-943A-4AD3A1701E52}" type="pres">
      <dgm:prSet presAssocID="{BE59439C-B28F-46CB-8605-D93C4205FAEE}" presName="titleText2" presStyleLbl="fgAcc1" presStyleIdx="9" presStyleCnt="10" custScaleX="147554" custScaleY="218669" custLinFactNeighborX="-1325" custLinFactNeighborY="81064">
        <dgm:presLayoutVars>
          <dgm:chMax val="0"/>
          <dgm:chPref val="0"/>
        </dgm:presLayoutVars>
      </dgm:prSet>
      <dgm:spPr/>
    </dgm:pt>
    <dgm:pt modelId="{A59325D8-87CF-4FF5-A8CE-68AFF6191AAF}" type="pres">
      <dgm:prSet presAssocID="{BE59439C-B28F-46CB-8605-D93C4205FAEE}" presName="rootConnector" presStyleLbl="node2" presStyleIdx="0" presStyleCnt="0"/>
      <dgm:spPr/>
    </dgm:pt>
    <dgm:pt modelId="{68682167-A3B5-4B16-A7FD-B07582CF4E9E}" type="pres">
      <dgm:prSet presAssocID="{BE59439C-B28F-46CB-8605-D93C4205FAEE}" presName="hierChild4" presStyleCnt="0"/>
      <dgm:spPr/>
    </dgm:pt>
    <dgm:pt modelId="{5C51E8E3-E2C0-4138-9E3C-1F49B3D92CFD}" type="pres">
      <dgm:prSet presAssocID="{BE59439C-B28F-46CB-8605-D93C4205FAEE}" presName="hierChild5" presStyleCnt="0"/>
      <dgm:spPr/>
    </dgm:pt>
    <dgm:pt modelId="{D3E02CCA-F8A4-4387-AD6F-807A29AB2AA4}" type="pres">
      <dgm:prSet presAssocID="{71DFCD5C-F26E-46F3-ABBE-6F651DD03A3A}" presName="hierChild3" presStyleCnt="0"/>
      <dgm:spPr/>
    </dgm:pt>
  </dgm:ptLst>
  <dgm:cxnLst>
    <dgm:cxn modelId="{D1E6AC00-31D7-463E-BA76-0C2CF743DC64}" type="presOf" srcId="{590AB023-3F46-43FC-9C92-8744E260F5F9}" destId="{6C6FFD59-5CAA-4849-9CBB-05E172DD3B76}" srcOrd="0" destOrd="0" presId="urn:microsoft.com/office/officeart/2008/layout/NameandTitleOrganizationalChart"/>
    <dgm:cxn modelId="{24996A02-367C-404F-A373-72A99AED1933}" type="presOf" srcId="{1DE2B05A-A836-428F-9C8F-BF04EB4E1353}" destId="{C385E9DF-B7B3-4E15-BB05-48ED2DF67BF0}" srcOrd="0" destOrd="0" presId="urn:microsoft.com/office/officeart/2008/layout/NameandTitleOrganizationalChart"/>
    <dgm:cxn modelId="{C3240F03-8B8F-4AB3-867C-958386239640}" srcId="{74D4F800-9F83-4374-8FC0-38C3A718BC14}" destId="{71DFCD5C-F26E-46F3-ABBE-6F651DD03A3A}" srcOrd="0" destOrd="0" parTransId="{EC881503-4F03-423E-BD88-3B9972536D4C}" sibTransId="{BD3076A6-0180-4931-9F6D-DB29DAC43DA9}"/>
    <dgm:cxn modelId="{4DB89709-7EEF-4149-A734-9D49D65C4B12}" type="presOf" srcId="{3179EB10-0F26-4C08-A5D7-C0995C000FDF}" destId="{C438932D-A0FA-467F-A8AA-928202CE55C4}" srcOrd="0" destOrd="0" presId="urn:microsoft.com/office/officeart/2008/layout/NameandTitleOrganizationalChart"/>
    <dgm:cxn modelId="{21B4190D-1C15-421C-9E11-1C7710BD0A18}" type="presOf" srcId="{71DFCD5C-F26E-46F3-ABBE-6F651DD03A3A}" destId="{B3955F60-506E-4D9D-A5A7-A392BD946542}" srcOrd="0" destOrd="0" presId="urn:microsoft.com/office/officeart/2008/layout/NameandTitleOrganizationalChart"/>
    <dgm:cxn modelId="{BC49961B-658C-4206-863C-CE128DAE204A}" srcId="{12368A09-E494-4DA0-BE26-68DBFCC5A6DF}" destId="{CD9A4F6B-A9EA-45E7-AAF1-25F4F0EFDEF4}" srcOrd="5" destOrd="0" parTransId="{04B6E06F-C27F-4F40-A516-49A9AF4F97EF}" sibTransId="{6F9BA7AF-3023-4416-9BF5-A2F5FBD65D06}"/>
    <dgm:cxn modelId="{DAA0782B-6F8D-45DF-9C70-639D21D30787}" type="presOf" srcId="{BD3076A6-0180-4931-9F6D-DB29DAC43DA9}" destId="{98EBD8F6-95C3-4B30-B24A-D8B8C8D5480A}" srcOrd="0" destOrd="0" presId="urn:microsoft.com/office/officeart/2008/layout/NameandTitleOrganizationalChart"/>
    <dgm:cxn modelId="{5A7BC82B-8C77-4C41-82CF-B5C2DAA5094A}" type="presOf" srcId="{B2FB48A7-F021-49F4-A852-F2F557D2B020}" destId="{B9297D4A-CD77-46FA-AEB1-3E54C0003859}" srcOrd="1" destOrd="0" presId="urn:microsoft.com/office/officeart/2008/layout/NameandTitleOrganizationalChart"/>
    <dgm:cxn modelId="{AA197E33-C767-4C6B-82F5-5F4D1C79A48E}" type="presOf" srcId="{6F9BA7AF-3023-4416-9BF5-A2F5FBD65D06}" destId="{C1D68CE8-BFF0-4641-9EFD-9635DD82C560}" srcOrd="0" destOrd="0" presId="urn:microsoft.com/office/officeart/2008/layout/NameandTitleOrganizationalChart"/>
    <dgm:cxn modelId="{69A5DB37-FB55-4E31-8E84-DCAA5310810A}" type="presOf" srcId="{3AE6697D-694C-416B-9275-3CAFB5A7E7BD}" destId="{96AA3239-5E29-47C7-A00A-0C9686A9D49B}" srcOrd="1" destOrd="0" presId="urn:microsoft.com/office/officeart/2008/layout/NameandTitleOrganizationalChart"/>
    <dgm:cxn modelId="{77986738-2F49-47CC-837E-FB3955F4B8F3}" srcId="{71DFCD5C-F26E-46F3-ABBE-6F651DD03A3A}" destId="{BE59439C-B28F-46CB-8605-D93C4205FAEE}" srcOrd="2" destOrd="0" parTransId="{6BA2AA15-C237-42FB-8B87-D7CC21728343}" sibTransId="{E6AAC603-CDAA-41B6-A93E-4898CBFEAEFC}"/>
    <dgm:cxn modelId="{D4F4033E-33EB-488B-8D8E-AD5DB8599A46}" type="presOf" srcId="{CD9A4F6B-A9EA-45E7-AAF1-25F4F0EFDEF4}" destId="{6C464F9B-1628-42E3-B582-9F22ADC2A1D1}" srcOrd="0" destOrd="0" presId="urn:microsoft.com/office/officeart/2008/layout/NameandTitleOrganizationalChart"/>
    <dgm:cxn modelId="{7857B03E-962B-4A17-B5AD-5AD6D7B5C6F8}" type="presOf" srcId="{D3360EE9-EA68-4D4F-AD90-E6F65EE69529}" destId="{FE01EC76-4BC0-41B0-84A6-395E9BEF47BC}" srcOrd="0" destOrd="0" presId="urn:microsoft.com/office/officeart/2008/layout/NameandTitleOrganizationalChart"/>
    <dgm:cxn modelId="{0894D73F-5640-48E9-B333-DA253A7F5460}" type="presOf" srcId="{B9BB3785-40BB-40B2-9651-B57552D35C7D}" destId="{F4E8E994-15E8-446B-9BA7-8D9DD72A03D5}" srcOrd="0" destOrd="0" presId="urn:microsoft.com/office/officeart/2008/layout/NameandTitleOrganizationalChart"/>
    <dgm:cxn modelId="{A3A7F240-655B-4DA4-BB82-2B36F119830B}" type="presOf" srcId="{F10632A4-DCD2-4E67-8563-E7DF20E16F5C}" destId="{ABBCEB66-23CB-4813-9859-803A4601923A}" srcOrd="0" destOrd="0" presId="urn:microsoft.com/office/officeart/2008/layout/NameandTitleOrganizationalChart"/>
    <dgm:cxn modelId="{F67AD15F-C847-4B24-A141-A9E7AE8D00CF}" type="presOf" srcId="{DC9010C6-B3E0-44EE-AE2F-C97A56530174}" destId="{9FF9F62F-1A8D-4FE5-ACFE-70B9294F20E9}" srcOrd="0" destOrd="0" presId="urn:microsoft.com/office/officeart/2008/layout/NameandTitleOrganizationalChart"/>
    <dgm:cxn modelId="{717C3560-561D-4F0E-BEF4-928899F7ACD0}" srcId="{12368A09-E494-4DA0-BE26-68DBFCC5A6DF}" destId="{3AE6697D-694C-416B-9275-3CAFB5A7E7BD}" srcOrd="1" destOrd="0" parTransId="{A585F1A3-827B-45D6-B5FC-D2FDAD1EA6A6}" sibTransId="{24A43F82-C49B-437A-A758-AAB066C6EF05}"/>
    <dgm:cxn modelId="{F6B72941-888D-4AF7-B752-8AEBAF456037}" type="presOf" srcId="{0E4713E3-094C-405F-97B8-7D638B4408F6}" destId="{D875188F-7F54-4A25-9393-423C2DABD5A5}" srcOrd="1" destOrd="0" presId="urn:microsoft.com/office/officeart/2008/layout/NameandTitleOrganizationalChart"/>
    <dgm:cxn modelId="{EC410B43-154F-4286-B23B-6B6F20DFAC89}" type="presOf" srcId="{04E1A80C-9007-47AD-A30C-006195B604D4}" destId="{CC835957-B959-4F3F-B101-867CBE20C159}" srcOrd="0" destOrd="0" presId="urn:microsoft.com/office/officeart/2008/layout/NameandTitleOrganizationalChart"/>
    <dgm:cxn modelId="{53901F44-8D88-4977-9030-1D1163052582}" type="presOf" srcId="{F08E39A0-BB0D-4C5A-A9F3-B651BD2E3A6E}" destId="{0200B958-ED26-4DA0-8848-DD6896CA1876}" srcOrd="0" destOrd="0" presId="urn:microsoft.com/office/officeart/2008/layout/NameandTitleOrganizationalChart"/>
    <dgm:cxn modelId="{9EAC7A45-5C06-4B1A-A2E1-CADCC279DBA3}" type="presOf" srcId="{BE59439C-B28F-46CB-8605-D93C4205FAEE}" destId="{A59325D8-87CF-4FF5-A8CE-68AFF6191AAF}" srcOrd="1" destOrd="0" presId="urn:microsoft.com/office/officeart/2008/layout/NameandTitleOrganizationalChart"/>
    <dgm:cxn modelId="{DA513267-3A32-403E-9E26-93AA767928F5}" type="presOf" srcId="{6BA2AA15-C237-42FB-8B87-D7CC21728343}" destId="{8A63A760-A62E-4261-A449-3177D33B6E1A}" srcOrd="0" destOrd="0" presId="urn:microsoft.com/office/officeart/2008/layout/NameandTitleOrganizationalChart"/>
    <dgm:cxn modelId="{3E07BE6A-08C6-4F9D-9EF2-C9A4C6309C23}" type="presOf" srcId="{4A055B0A-F8AC-4CC2-A261-69E4B9A7FAB0}" destId="{D03EAFE4-7D6E-4CFB-99B1-3AE44293D59A}" srcOrd="0" destOrd="0" presId="urn:microsoft.com/office/officeart/2008/layout/NameandTitleOrganizationalChart"/>
    <dgm:cxn modelId="{75193050-097C-4F89-A84E-BB388C4DB0FB}" type="presOf" srcId="{D07841C0-1AE3-4FBB-BA7C-1708724D5FB1}" destId="{8F414B1B-494C-4732-9A4E-D17421266E8B}" srcOrd="0" destOrd="0" presId="urn:microsoft.com/office/officeart/2008/layout/NameandTitleOrganizationalChart"/>
    <dgm:cxn modelId="{332AF672-3ABA-459A-B8B4-0568B5E2AD9B}" type="presOf" srcId="{A585F1A3-827B-45D6-B5FC-D2FDAD1EA6A6}" destId="{9BE7AF04-B0FC-4A72-A94F-BFCDFEFFA8B1}" srcOrd="0" destOrd="0" presId="urn:microsoft.com/office/officeart/2008/layout/NameandTitleOrganizationalChart"/>
    <dgm:cxn modelId="{F80C2F75-AC39-467B-8714-46D926CAAE4F}" type="presOf" srcId="{71DFCD5C-F26E-46F3-ABBE-6F651DD03A3A}" destId="{EC8CA4FC-5BD5-42A4-91B8-3B40E2588334}" srcOrd="1" destOrd="0" presId="urn:microsoft.com/office/officeart/2008/layout/NameandTitleOrganizationalChart"/>
    <dgm:cxn modelId="{67246055-FA03-44C8-8D9C-26ED829ECC67}" type="presOf" srcId="{A68A7D00-0F6F-4C4D-927F-BB17BD44AA33}" destId="{C62CB429-1867-4BE2-919E-11FA8D3E0ABD}" srcOrd="1" destOrd="0" presId="urn:microsoft.com/office/officeart/2008/layout/NameandTitleOrganizationalChart"/>
    <dgm:cxn modelId="{8AD35658-FE35-46AC-AADC-C71E08D0F7A1}" type="presOf" srcId="{74D4F800-9F83-4374-8FC0-38C3A718BC14}" destId="{FD61BD25-71C2-4191-839F-8D592B801E0E}" srcOrd="0" destOrd="0" presId="urn:microsoft.com/office/officeart/2008/layout/NameandTitleOrganizationalChart"/>
    <dgm:cxn modelId="{3B76C383-B801-4C60-8513-6508BF066716}" srcId="{12368A09-E494-4DA0-BE26-68DBFCC5A6DF}" destId="{B2FB48A7-F021-49F4-A852-F2F557D2B020}" srcOrd="3" destOrd="0" parTransId="{4A055B0A-F8AC-4CC2-A261-69E4B9A7FAB0}" sibTransId="{B8291800-B2A8-4F7D-8A13-7503583CC142}"/>
    <dgm:cxn modelId="{B3869F84-9B6A-4D7C-984E-D9C2697AA6EA}" type="presOf" srcId="{04B6E06F-C27F-4F40-A516-49A9AF4F97EF}" destId="{970FD034-5842-4C79-A5EB-C7B91D1E4922}" srcOrd="0" destOrd="0" presId="urn:microsoft.com/office/officeart/2008/layout/NameandTitleOrganizationalChart"/>
    <dgm:cxn modelId="{1F34BA87-C4A2-4626-AB76-C17D607E0E53}" type="presOf" srcId="{DC9010C6-B3E0-44EE-AE2F-C97A56530174}" destId="{CAE542D8-BB3D-4BFA-B431-57F25F43F6D2}" srcOrd="1" destOrd="0" presId="urn:microsoft.com/office/officeart/2008/layout/NameandTitleOrganizationalChart"/>
    <dgm:cxn modelId="{81E25688-9FD7-4DA2-88DF-59BDFA065042}" type="presOf" srcId="{E6AAC603-CDAA-41B6-A93E-4898CBFEAEFC}" destId="{46472ACF-A3EE-4856-943A-4AD3A1701E52}" srcOrd="0" destOrd="0" presId="urn:microsoft.com/office/officeart/2008/layout/NameandTitleOrganizationalChart"/>
    <dgm:cxn modelId="{24F9FF8B-77BF-431D-A147-5357EE837361}" type="presOf" srcId="{3AE6697D-694C-416B-9275-3CAFB5A7E7BD}" destId="{DA3DC7E7-1EDB-4DBD-9817-BD2340D469AA}" srcOrd="0" destOrd="0" presId="urn:microsoft.com/office/officeart/2008/layout/NameandTitleOrganizationalChart"/>
    <dgm:cxn modelId="{25B70D8E-9FC8-4108-B3CF-99101C1EC6A9}" type="presOf" srcId="{BE59439C-B28F-46CB-8605-D93C4205FAEE}" destId="{F21CFC41-3FE9-40C1-A74E-65E07F044F6C}" srcOrd="0" destOrd="0" presId="urn:microsoft.com/office/officeart/2008/layout/NameandTitleOrganizationalChart"/>
    <dgm:cxn modelId="{30B77393-FDD5-40B4-AF8E-0D95BA4FFF02}" type="presOf" srcId="{B8291800-B2A8-4F7D-8A13-7503583CC142}" destId="{DA172914-2B05-4BCE-9255-78CB276523DC}" srcOrd="0" destOrd="0" presId="urn:microsoft.com/office/officeart/2008/layout/NameandTitleOrganizationalChart"/>
    <dgm:cxn modelId="{964D7C93-7F85-4451-8CC2-DFA7F71A22C8}" type="presOf" srcId="{06000469-1A9F-4E23-9307-A2DAE99A5625}" destId="{EC8121EE-8DC2-42A3-9ADE-1B8BD4F9DB15}" srcOrd="1" destOrd="0" presId="urn:microsoft.com/office/officeart/2008/layout/NameandTitleOrganizationalChart"/>
    <dgm:cxn modelId="{44182098-9423-4E07-A1B6-BBE2102D01AB}" type="presOf" srcId="{24A43F82-C49B-437A-A758-AAB066C6EF05}" destId="{A31C4990-C806-4BAE-A2D4-CC90C8F575FB}" srcOrd="0" destOrd="0" presId="urn:microsoft.com/office/officeart/2008/layout/NameandTitleOrganizationalChart"/>
    <dgm:cxn modelId="{9BB27A99-EB73-41A0-AA74-B71A40F67F48}" srcId="{12368A09-E494-4DA0-BE26-68DBFCC5A6DF}" destId="{B9BB3785-40BB-40B2-9651-B57552D35C7D}" srcOrd="2" destOrd="0" parTransId="{D07841C0-1AE3-4FBB-BA7C-1708724D5FB1}" sibTransId="{70236278-49E9-4E6D-8A30-1CD1ED9BC259}"/>
    <dgm:cxn modelId="{573A3A9B-D990-40A9-BF5D-8FF90B658B78}" srcId="{12368A09-E494-4DA0-BE26-68DBFCC5A6DF}" destId="{DC9010C6-B3E0-44EE-AE2F-C97A56530174}" srcOrd="4" destOrd="0" parTransId="{04E1A80C-9007-47AD-A30C-006195B604D4}" sibTransId="{D3360EE9-EA68-4D4F-AD90-E6F65EE69529}"/>
    <dgm:cxn modelId="{E9706F9E-8620-4A7E-8C88-51040E5910E8}" type="presOf" srcId="{CD9A4F6B-A9EA-45E7-AAF1-25F4F0EFDEF4}" destId="{F5AF42EC-B063-40F8-B90C-FDD40262B7AF}" srcOrd="1" destOrd="0" presId="urn:microsoft.com/office/officeart/2008/layout/NameandTitleOrganizationalChart"/>
    <dgm:cxn modelId="{303769A8-BC46-4AD9-BFFA-1537CADEE718}" type="presOf" srcId="{12368A09-E494-4DA0-BE26-68DBFCC5A6DF}" destId="{9227015C-5A04-48B4-A128-6E0F822F2EFF}" srcOrd="1" destOrd="0" presId="urn:microsoft.com/office/officeart/2008/layout/NameandTitleOrganizationalChart"/>
    <dgm:cxn modelId="{B1D5EFB7-4B96-4999-9006-C3BDBC4F55A0}" type="presOf" srcId="{B2FB48A7-F021-49F4-A852-F2F557D2B020}" destId="{3AFFEA35-F27E-4E12-AC1B-E3B430512200}" srcOrd="0" destOrd="0" presId="urn:microsoft.com/office/officeart/2008/layout/NameandTitleOrganizationalChart"/>
    <dgm:cxn modelId="{73846CBB-8349-4582-932A-3BC71B14A9F4}" type="presOf" srcId="{06000469-1A9F-4E23-9307-A2DAE99A5625}" destId="{27EA4E38-0157-47AC-BA1F-3D21E3CDEDCE}" srcOrd="0" destOrd="0" presId="urn:microsoft.com/office/officeart/2008/layout/NameandTitleOrganizationalChart"/>
    <dgm:cxn modelId="{5F9CD0BB-1868-46BC-AD78-884D2BE3047E}" type="presOf" srcId="{70236278-49E9-4E6D-8A30-1CD1ED9BC259}" destId="{6E5D5F96-72D0-4BA8-8581-7FE93A846F02}" srcOrd="0" destOrd="0" presId="urn:microsoft.com/office/officeart/2008/layout/NameandTitleOrganizationalChart"/>
    <dgm:cxn modelId="{B4FFF0C0-480C-428D-B895-241AB4B99434}" type="presOf" srcId="{B9BB3785-40BB-40B2-9651-B57552D35C7D}" destId="{8337BED5-EFBA-49B5-BE8D-8022A0ABEA29}" srcOrd="1" destOrd="0" presId="urn:microsoft.com/office/officeart/2008/layout/NameandTitleOrganizationalChart"/>
    <dgm:cxn modelId="{98F00EC6-22DA-42CA-9D1E-B6E2CF205D08}" type="presOf" srcId="{0E4713E3-094C-405F-97B8-7D638B4408F6}" destId="{7E29A087-647C-4929-86E6-3802A316DA51}" srcOrd="0" destOrd="0" presId="urn:microsoft.com/office/officeart/2008/layout/NameandTitleOrganizationalChart"/>
    <dgm:cxn modelId="{7C5681C8-6966-4443-ABB6-1DD7DF4659E8}" type="presOf" srcId="{0CE34B5F-B6C3-4E03-8D6F-A018CF2D2953}" destId="{51341394-568D-4589-9786-3D0CECFAD2C1}" srcOrd="0" destOrd="0" presId="urn:microsoft.com/office/officeart/2008/layout/NameandTitleOrganizationalChart"/>
    <dgm:cxn modelId="{C850DFD0-2798-4861-8527-13C0FC290512}" type="presOf" srcId="{A68A7D00-0F6F-4C4D-927F-BB17BD44AA33}" destId="{B0FACB75-8E4B-4476-AE5C-1502766FBCA1}" srcOrd="0" destOrd="0" presId="urn:microsoft.com/office/officeart/2008/layout/NameandTitleOrganizationalChart"/>
    <dgm:cxn modelId="{FDE762D1-1968-4541-835E-908B2C506F51}" type="presOf" srcId="{D89F6611-F552-4037-9A92-7CBA4DE65088}" destId="{3261AE55-5E12-4053-8DDB-3EC712BEB1E3}" srcOrd="0" destOrd="0" presId="urn:microsoft.com/office/officeart/2008/layout/NameandTitleOrganizationalChart"/>
    <dgm:cxn modelId="{E0419FD8-1A50-4218-9C34-895FFA6904E0}" srcId="{71DFCD5C-F26E-46F3-ABBE-6F651DD03A3A}" destId="{0E4713E3-094C-405F-97B8-7D638B4408F6}" srcOrd="1" destOrd="0" parTransId="{3179EB10-0F26-4C08-A5D7-C0995C000FDF}" sibTransId="{1DE2B05A-A836-428F-9C8F-BF04EB4E1353}"/>
    <dgm:cxn modelId="{D105C0E3-00E1-40EF-A1D0-E120E28911E3}" type="presOf" srcId="{DA47CF47-0784-4D6D-B395-5A5FFD523745}" destId="{E8F6D2D6-8B38-4099-86D2-E8EF26DE4363}" srcOrd="0" destOrd="0" presId="urn:microsoft.com/office/officeart/2008/layout/NameandTitleOrganizationalChart"/>
    <dgm:cxn modelId="{B3B3D6FB-E4DD-4F0F-AE7C-26854E20F4ED}" srcId="{71DFCD5C-F26E-46F3-ABBE-6F651DD03A3A}" destId="{12368A09-E494-4DA0-BE26-68DBFCC5A6DF}" srcOrd="0" destOrd="0" parTransId="{DA47CF47-0784-4D6D-B395-5A5FFD523745}" sibTransId="{F08E39A0-BB0D-4C5A-A9F3-B651BD2E3A6E}"/>
    <dgm:cxn modelId="{C57D8FFC-C107-4413-A878-4B350FECB893}" srcId="{12368A09-E494-4DA0-BE26-68DBFCC5A6DF}" destId="{A68A7D00-0F6F-4C4D-927F-BB17BD44AA33}" srcOrd="0" destOrd="0" parTransId="{D89F6611-F552-4037-9A92-7CBA4DE65088}" sibTransId="{F10632A4-DCD2-4E67-8563-E7DF20E16F5C}"/>
    <dgm:cxn modelId="{6954D5FC-3E30-4221-AB0E-EC51F3A40938}" type="presOf" srcId="{12368A09-E494-4DA0-BE26-68DBFCC5A6DF}" destId="{85CC8493-3286-4372-A981-2ACEC7BF561D}" srcOrd="0" destOrd="0" presId="urn:microsoft.com/office/officeart/2008/layout/NameandTitleOrganizationalChart"/>
    <dgm:cxn modelId="{C636D9FF-0CEE-4CF0-A6D4-05D9D0F0484D}" srcId="{12368A09-E494-4DA0-BE26-68DBFCC5A6DF}" destId="{06000469-1A9F-4E23-9307-A2DAE99A5625}" srcOrd="6" destOrd="0" parTransId="{590AB023-3F46-43FC-9C92-8744E260F5F9}" sibTransId="{0CE34B5F-B6C3-4E03-8D6F-A018CF2D2953}"/>
    <dgm:cxn modelId="{7A534B80-4300-4762-83EB-9EFE82D7CC9B}" type="presParOf" srcId="{FD61BD25-71C2-4191-839F-8D592B801E0E}" destId="{3699A48D-1C0D-46D2-9501-AECC098F5597}" srcOrd="0" destOrd="0" presId="urn:microsoft.com/office/officeart/2008/layout/NameandTitleOrganizationalChart"/>
    <dgm:cxn modelId="{41A6C705-A8CA-4B2E-9BF8-499F6DABBDA5}" type="presParOf" srcId="{3699A48D-1C0D-46D2-9501-AECC098F5597}" destId="{44FE94DB-E254-44D9-9605-0EC012AE2B92}" srcOrd="0" destOrd="0" presId="urn:microsoft.com/office/officeart/2008/layout/NameandTitleOrganizationalChart"/>
    <dgm:cxn modelId="{0013F51F-8504-41B3-9926-0B18713C32FD}" type="presParOf" srcId="{44FE94DB-E254-44D9-9605-0EC012AE2B92}" destId="{B3955F60-506E-4D9D-A5A7-A392BD946542}" srcOrd="0" destOrd="0" presId="urn:microsoft.com/office/officeart/2008/layout/NameandTitleOrganizationalChart"/>
    <dgm:cxn modelId="{B9978A36-89F0-4D2C-915D-63A70BEC26DA}" type="presParOf" srcId="{44FE94DB-E254-44D9-9605-0EC012AE2B92}" destId="{98EBD8F6-95C3-4B30-B24A-D8B8C8D5480A}" srcOrd="1" destOrd="0" presId="urn:microsoft.com/office/officeart/2008/layout/NameandTitleOrganizationalChart"/>
    <dgm:cxn modelId="{235AA2C7-C8F4-4A8D-983E-847D012A92A2}" type="presParOf" srcId="{44FE94DB-E254-44D9-9605-0EC012AE2B92}" destId="{EC8CA4FC-5BD5-42A4-91B8-3B40E2588334}" srcOrd="2" destOrd="0" presId="urn:microsoft.com/office/officeart/2008/layout/NameandTitleOrganizationalChart"/>
    <dgm:cxn modelId="{535DD962-388E-436E-B36B-0D1F667BA8B8}" type="presParOf" srcId="{3699A48D-1C0D-46D2-9501-AECC098F5597}" destId="{22BEB091-DFCC-44E8-8BE6-60DEF2065A1A}" srcOrd="1" destOrd="0" presId="urn:microsoft.com/office/officeart/2008/layout/NameandTitleOrganizationalChart"/>
    <dgm:cxn modelId="{26FBB58C-0FA4-4A74-A85A-FB3AC44872AF}" type="presParOf" srcId="{22BEB091-DFCC-44E8-8BE6-60DEF2065A1A}" destId="{E8F6D2D6-8B38-4099-86D2-E8EF26DE4363}" srcOrd="0" destOrd="0" presId="urn:microsoft.com/office/officeart/2008/layout/NameandTitleOrganizationalChart"/>
    <dgm:cxn modelId="{FD0B6AD7-7100-4AC4-A73B-C2AF7E0CC4DE}" type="presParOf" srcId="{22BEB091-DFCC-44E8-8BE6-60DEF2065A1A}" destId="{9B5A92D1-A665-4878-B86C-016BA3D5DA2C}" srcOrd="1" destOrd="0" presId="urn:microsoft.com/office/officeart/2008/layout/NameandTitleOrganizationalChart"/>
    <dgm:cxn modelId="{D7295AA5-C3F8-4835-A8DA-809DA253F955}" type="presParOf" srcId="{9B5A92D1-A665-4878-B86C-016BA3D5DA2C}" destId="{CEAFC098-A2A2-4940-A2DC-BA204E8CA234}" srcOrd="0" destOrd="0" presId="urn:microsoft.com/office/officeart/2008/layout/NameandTitleOrganizationalChart"/>
    <dgm:cxn modelId="{9822433D-1BF2-4EB8-A699-66017E051E1D}" type="presParOf" srcId="{CEAFC098-A2A2-4940-A2DC-BA204E8CA234}" destId="{85CC8493-3286-4372-A981-2ACEC7BF561D}" srcOrd="0" destOrd="0" presId="urn:microsoft.com/office/officeart/2008/layout/NameandTitleOrganizationalChart"/>
    <dgm:cxn modelId="{6BA582BC-2C60-4E33-9756-3185478C1B35}" type="presParOf" srcId="{CEAFC098-A2A2-4940-A2DC-BA204E8CA234}" destId="{0200B958-ED26-4DA0-8848-DD6896CA1876}" srcOrd="1" destOrd="0" presId="urn:microsoft.com/office/officeart/2008/layout/NameandTitleOrganizationalChart"/>
    <dgm:cxn modelId="{B98896D3-D928-4718-942E-5C286A3AA043}" type="presParOf" srcId="{CEAFC098-A2A2-4940-A2DC-BA204E8CA234}" destId="{9227015C-5A04-48B4-A128-6E0F822F2EFF}" srcOrd="2" destOrd="0" presId="urn:microsoft.com/office/officeart/2008/layout/NameandTitleOrganizationalChart"/>
    <dgm:cxn modelId="{588A1BE9-B178-45E7-AEC3-025FC4353865}" type="presParOf" srcId="{9B5A92D1-A665-4878-B86C-016BA3D5DA2C}" destId="{D090D6DD-FC1F-45E2-9358-21E1E6EC59B5}" srcOrd="1" destOrd="0" presId="urn:microsoft.com/office/officeart/2008/layout/NameandTitleOrganizationalChart"/>
    <dgm:cxn modelId="{E078B123-1795-41F5-8937-A44BA42757B6}" type="presParOf" srcId="{D090D6DD-FC1F-45E2-9358-21E1E6EC59B5}" destId="{3261AE55-5E12-4053-8DDB-3EC712BEB1E3}" srcOrd="0" destOrd="0" presId="urn:microsoft.com/office/officeart/2008/layout/NameandTitleOrganizationalChart"/>
    <dgm:cxn modelId="{37DEB8A6-385A-4669-BEB5-B3AAC359F441}" type="presParOf" srcId="{D090D6DD-FC1F-45E2-9358-21E1E6EC59B5}" destId="{B9FAFA7C-0180-455D-BC7A-0B8F84BC4D67}" srcOrd="1" destOrd="0" presId="urn:microsoft.com/office/officeart/2008/layout/NameandTitleOrganizationalChart"/>
    <dgm:cxn modelId="{610B517F-398C-4738-9B44-4C7BDB368347}" type="presParOf" srcId="{B9FAFA7C-0180-455D-BC7A-0B8F84BC4D67}" destId="{167AB386-E98A-4CCE-88A6-4F934E7AD4B4}" srcOrd="0" destOrd="0" presId="urn:microsoft.com/office/officeart/2008/layout/NameandTitleOrganizationalChart"/>
    <dgm:cxn modelId="{AF2144EE-7658-4D56-B41E-EAC265D9CED4}" type="presParOf" srcId="{167AB386-E98A-4CCE-88A6-4F934E7AD4B4}" destId="{B0FACB75-8E4B-4476-AE5C-1502766FBCA1}" srcOrd="0" destOrd="0" presId="urn:microsoft.com/office/officeart/2008/layout/NameandTitleOrganizationalChart"/>
    <dgm:cxn modelId="{B31BF211-766B-4E2A-A8C8-CED980281C82}" type="presParOf" srcId="{167AB386-E98A-4CCE-88A6-4F934E7AD4B4}" destId="{ABBCEB66-23CB-4813-9859-803A4601923A}" srcOrd="1" destOrd="0" presId="urn:microsoft.com/office/officeart/2008/layout/NameandTitleOrganizationalChart"/>
    <dgm:cxn modelId="{AD7274F0-DF16-408D-AAA6-32CE06C3C56E}" type="presParOf" srcId="{167AB386-E98A-4CCE-88A6-4F934E7AD4B4}" destId="{C62CB429-1867-4BE2-919E-11FA8D3E0ABD}" srcOrd="2" destOrd="0" presId="urn:microsoft.com/office/officeart/2008/layout/NameandTitleOrganizationalChart"/>
    <dgm:cxn modelId="{B0E7C671-7A96-4AE4-A6BF-DA9D35670017}" type="presParOf" srcId="{B9FAFA7C-0180-455D-BC7A-0B8F84BC4D67}" destId="{3723253B-276A-4555-91B0-E2079B6ADC2E}" srcOrd="1" destOrd="0" presId="urn:microsoft.com/office/officeart/2008/layout/NameandTitleOrganizationalChart"/>
    <dgm:cxn modelId="{592B4BF0-F41C-49D5-A5E9-5CFCC64C693E}" type="presParOf" srcId="{B9FAFA7C-0180-455D-BC7A-0B8F84BC4D67}" destId="{92AA9D9B-E2AE-4EC0-B1B4-244F8399E43E}" srcOrd="2" destOrd="0" presId="urn:microsoft.com/office/officeart/2008/layout/NameandTitleOrganizationalChart"/>
    <dgm:cxn modelId="{E13C3B55-90FD-4F7D-95A3-F8B00D4131DC}" type="presParOf" srcId="{D090D6DD-FC1F-45E2-9358-21E1E6EC59B5}" destId="{9BE7AF04-B0FC-4A72-A94F-BFCDFEFFA8B1}" srcOrd="2" destOrd="0" presId="urn:microsoft.com/office/officeart/2008/layout/NameandTitleOrganizationalChart"/>
    <dgm:cxn modelId="{EAE65DF3-CC6B-4279-998F-E14DD2490449}" type="presParOf" srcId="{D090D6DD-FC1F-45E2-9358-21E1E6EC59B5}" destId="{F17E6DF4-42BB-4196-98DE-7DA8C47ED13D}" srcOrd="3" destOrd="0" presId="urn:microsoft.com/office/officeart/2008/layout/NameandTitleOrganizationalChart"/>
    <dgm:cxn modelId="{44B91A6F-9F7C-43CB-BB98-E76D89C0C9C0}" type="presParOf" srcId="{F17E6DF4-42BB-4196-98DE-7DA8C47ED13D}" destId="{95AB194A-8BEE-4DE7-8491-4112E9016DF8}" srcOrd="0" destOrd="0" presId="urn:microsoft.com/office/officeart/2008/layout/NameandTitleOrganizationalChart"/>
    <dgm:cxn modelId="{938D2075-3300-4F37-8B76-20594CEF12B0}" type="presParOf" srcId="{95AB194A-8BEE-4DE7-8491-4112E9016DF8}" destId="{DA3DC7E7-1EDB-4DBD-9817-BD2340D469AA}" srcOrd="0" destOrd="0" presId="urn:microsoft.com/office/officeart/2008/layout/NameandTitleOrganizationalChart"/>
    <dgm:cxn modelId="{F31088C4-51EC-4577-85C2-E8FD619DD7E2}" type="presParOf" srcId="{95AB194A-8BEE-4DE7-8491-4112E9016DF8}" destId="{A31C4990-C806-4BAE-A2D4-CC90C8F575FB}" srcOrd="1" destOrd="0" presId="urn:microsoft.com/office/officeart/2008/layout/NameandTitleOrganizationalChart"/>
    <dgm:cxn modelId="{97110B31-3F65-45C1-B764-807042940DE8}" type="presParOf" srcId="{95AB194A-8BEE-4DE7-8491-4112E9016DF8}" destId="{96AA3239-5E29-47C7-A00A-0C9686A9D49B}" srcOrd="2" destOrd="0" presId="urn:microsoft.com/office/officeart/2008/layout/NameandTitleOrganizationalChart"/>
    <dgm:cxn modelId="{42272553-7FA1-408D-9D49-2C851678EF35}" type="presParOf" srcId="{F17E6DF4-42BB-4196-98DE-7DA8C47ED13D}" destId="{3D05C6A7-3815-4605-A247-0EEF43063421}" srcOrd="1" destOrd="0" presId="urn:microsoft.com/office/officeart/2008/layout/NameandTitleOrganizationalChart"/>
    <dgm:cxn modelId="{E461A0CA-2217-44C1-902B-2DAF7E8E1D3A}" type="presParOf" srcId="{F17E6DF4-42BB-4196-98DE-7DA8C47ED13D}" destId="{DF615FC7-EA58-4227-A416-0567844B6907}" srcOrd="2" destOrd="0" presId="urn:microsoft.com/office/officeart/2008/layout/NameandTitleOrganizationalChart"/>
    <dgm:cxn modelId="{43A818AA-35E8-48FE-AC74-90B434C960C4}" type="presParOf" srcId="{D090D6DD-FC1F-45E2-9358-21E1E6EC59B5}" destId="{8F414B1B-494C-4732-9A4E-D17421266E8B}" srcOrd="4" destOrd="0" presId="urn:microsoft.com/office/officeart/2008/layout/NameandTitleOrganizationalChart"/>
    <dgm:cxn modelId="{B2A5AE2A-1869-4BAD-899B-B2E055B20012}" type="presParOf" srcId="{D090D6DD-FC1F-45E2-9358-21E1E6EC59B5}" destId="{12007B07-F92F-48F8-910F-F3D7C4B9DB45}" srcOrd="5" destOrd="0" presId="urn:microsoft.com/office/officeart/2008/layout/NameandTitleOrganizationalChart"/>
    <dgm:cxn modelId="{6F950BE9-764D-4153-AE66-FAF9E9963237}" type="presParOf" srcId="{12007B07-F92F-48F8-910F-F3D7C4B9DB45}" destId="{9F062B42-66C8-47BB-92EC-D3F09D2F7258}" srcOrd="0" destOrd="0" presId="urn:microsoft.com/office/officeart/2008/layout/NameandTitleOrganizationalChart"/>
    <dgm:cxn modelId="{C221E534-3D36-4402-9BF7-84239B2108E6}" type="presParOf" srcId="{9F062B42-66C8-47BB-92EC-D3F09D2F7258}" destId="{F4E8E994-15E8-446B-9BA7-8D9DD72A03D5}" srcOrd="0" destOrd="0" presId="urn:microsoft.com/office/officeart/2008/layout/NameandTitleOrganizationalChart"/>
    <dgm:cxn modelId="{29D242FE-E084-4AC5-B722-F8262E2D535D}" type="presParOf" srcId="{9F062B42-66C8-47BB-92EC-D3F09D2F7258}" destId="{6E5D5F96-72D0-4BA8-8581-7FE93A846F02}" srcOrd="1" destOrd="0" presId="urn:microsoft.com/office/officeart/2008/layout/NameandTitleOrganizationalChart"/>
    <dgm:cxn modelId="{943F7ED0-FB90-47A8-B177-F1A62BAF274D}" type="presParOf" srcId="{9F062B42-66C8-47BB-92EC-D3F09D2F7258}" destId="{8337BED5-EFBA-49B5-BE8D-8022A0ABEA29}" srcOrd="2" destOrd="0" presId="urn:microsoft.com/office/officeart/2008/layout/NameandTitleOrganizationalChart"/>
    <dgm:cxn modelId="{E76DD339-624F-4E79-9DC5-79665642DBE9}" type="presParOf" srcId="{12007B07-F92F-48F8-910F-F3D7C4B9DB45}" destId="{26586F6B-0A38-4C1F-A6E5-5EE7C26F63C5}" srcOrd="1" destOrd="0" presId="urn:microsoft.com/office/officeart/2008/layout/NameandTitleOrganizationalChart"/>
    <dgm:cxn modelId="{AE07FFB8-09CB-4332-A3AF-00EB6726994B}" type="presParOf" srcId="{12007B07-F92F-48F8-910F-F3D7C4B9DB45}" destId="{63184887-818A-4F21-81FF-F182F02D7B80}" srcOrd="2" destOrd="0" presId="urn:microsoft.com/office/officeart/2008/layout/NameandTitleOrganizationalChart"/>
    <dgm:cxn modelId="{9652C79F-FCD2-4853-B98B-86ACDF9C0E4A}" type="presParOf" srcId="{D090D6DD-FC1F-45E2-9358-21E1E6EC59B5}" destId="{D03EAFE4-7D6E-4CFB-99B1-3AE44293D59A}" srcOrd="6" destOrd="0" presId="urn:microsoft.com/office/officeart/2008/layout/NameandTitleOrganizationalChart"/>
    <dgm:cxn modelId="{23B76C41-CDA2-4E8C-8750-224E796F2530}" type="presParOf" srcId="{D090D6DD-FC1F-45E2-9358-21E1E6EC59B5}" destId="{7BB0D866-347F-4F5A-BBDC-7579CD221D92}" srcOrd="7" destOrd="0" presId="urn:microsoft.com/office/officeart/2008/layout/NameandTitleOrganizationalChart"/>
    <dgm:cxn modelId="{1BAEFDE4-CB0D-4435-8680-F90B339A30E0}" type="presParOf" srcId="{7BB0D866-347F-4F5A-BBDC-7579CD221D92}" destId="{D658CE1D-4F3D-4D2B-A24D-A7BD0429F80C}" srcOrd="0" destOrd="0" presId="urn:microsoft.com/office/officeart/2008/layout/NameandTitleOrganizationalChart"/>
    <dgm:cxn modelId="{6444024B-8834-4D56-8B56-49091E02DD5D}" type="presParOf" srcId="{D658CE1D-4F3D-4D2B-A24D-A7BD0429F80C}" destId="{3AFFEA35-F27E-4E12-AC1B-E3B430512200}" srcOrd="0" destOrd="0" presId="urn:microsoft.com/office/officeart/2008/layout/NameandTitleOrganizationalChart"/>
    <dgm:cxn modelId="{FFE5503C-C303-4D0E-BF1D-9C100C70C46B}" type="presParOf" srcId="{D658CE1D-4F3D-4D2B-A24D-A7BD0429F80C}" destId="{DA172914-2B05-4BCE-9255-78CB276523DC}" srcOrd="1" destOrd="0" presId="urn:microsoft.com/office/officeart/2008/layout/NameandTitleOrganizationalChart"/>
    <dgm:cxn modelId="{E9D21FE8-40EE-4E2A-B068-BF5CB6EBD000}" type="presParOf" srcId="{D658CE1D-4F3D-4D2B-A24D-A7BD0429F80C}" destId="{B9297D4A-CD77-46FA-AEB1-3E54C0003859}" srcOrd="2" destOrd="0" presId="urn:microsoft.com/office/officeart/2008/layout/NameandTitleOrganizationalChart"/>
    <dgm:cxn modelId="{A298143E-FDE9-4408-94E9-45A532E6DD15}" type="presParOf" srcId="{7BB0D866-347F-4F5A-BBDC-7579CD221D92}" destId="{1EC244BD-A49F-457C-AF8F-2C6F6B8329EE}" srcOrd="1" destOrd="0" presId="urn:microsoft.com/office/officeart/2008/layout/NameandTitleOrganizationalChart"/>
    <dgm:cxn modelId="{B0E1ADCE-0B1B-4BEA-A4A7-73C6D89F9639}" type="presParOf" srcId="{7BB0D866-347F-4F5A-BBDC-7579CD221D92}" destId="{15A79FDC-AF7F-4306-860F-FE94D28F07A9}" srcOrd="2" destOrd="0" presId="urn:microsoft.com/office/officeart/2008/layout/NameandTitleOrganizationalChart"/>
    <dgm:cxn modelId="{DE6BE049-126A-4EEE-B375-2E777EE18771}" type="presParOf" srcId="{D090D6DD-FC1F-45E2-9358-21E1E6EC59B5}" destId="{CC835957-B959-4F3F-B101-867CBE20C159}" srcOrd="8" destOrd="0" presId="urn:microsoft.com/office/officeart/2008/layout/NameandTitleOrganizationalChart"/>
    <dgm:cxn modelId="{EBFC2356-1BB2-4EE6-858C-1C8CFDA2096B}" type="presParOf" srcId="{D090D6DD-FC1F-45E2-9358-21E1E6EC59B5}" destId="{6496A025-EC2F-445B-BE45-2F8729C1D5B2}" srcOrd="9" destOrd="0" presId="urn:microsoft.com/office/officeart/2008/layout/NameandTitleOrganizationalChart"/>
    <dgm:cxn modelId="{CBF0657A-66F7-4FF2-A7CB-50FFCAB040BE}" type="presParOf" srcId="{6496A025-EC2F-445B-BE45-2F8729C1D5B2}" destId="{C0EB2567-55DA-4BC9-9C14-681D72309CF3}" srcOrd="0" destOrd="0" presId="urn:microsoft.com/office/officeart/2008/layout/NameandTitleOrganizationalChart"/>
    <dgm:cxn modelId="{B56FEA5C-25B1-4484-AE09-7E0828584D2A}" type="presParOf" srcId="{C0EB2567-55DA-4BC9-9C14-681D72309CF3}" destId="{9FF9F62F-1A8D-4FE5-ACFE-70B9294F20E9}" srcOrd="0" destOrd="0" presId="urn:microsoft.com/office/officeart/2008/layout/NameandTitleOrganizationalChart"/>
    <dgm:cxn modelId="{F8A1E02A-52E1-40C1-ABAF-118D07081481}" type="presParOf" srcId="{C0EB2567-55DA-4BC9-9C14-681D72309CF3}" destId="{FE01EC76-4BC0-41B0-84A6-395E9BEF47BC}" srcOrd="1" destOrd="0" presId="urn:microsoft.com/office/officeart/2008/layout/NameandTitleOrganizationalChart"/>
    <dgm:cxn modelId="{2DFC70DF-A3B6-4F2E-9D86-42F6AC150340}" type="presParOf" srcId="{C0EB2567-55DA-4BC9-9C14-681D72309CF3}" destId="{CAE542D8-BB3D-4BFA-B431-57F25F43F6D2}" srcOrd="2" destOrd="0" presId="urn:microsoft.com/office/officeart/2008/layout/NameandTitleOrganizationalChart"/>
    <dgm:cxn modelId="{A7AAA5A3-180F-4A7B-B25F-6C2636409987}" type="presParOf" srcId="{6496A025-EC2F-445B-BE45-2F8729C1D5B2}" destId="{424C9631-1E46-4042-A020-80E14509AE38}" srcOrd="1" destOrd="0" presId="urn:microsoft.com/office/officeart/2008/layout/NameandTitleOrganizationalChart"/>
    <dgm:cxn modelId="{CB9102DA-F3E0-456C-B97C-2090E746748A}" type="presParOf" srcId="{6496A025-EC2F-445B-BE45-2F8729C1D5B2}" destId="{32F9CD2B-1C9A-4C1D-9AF9-CDD9BFB507AF}" srcOrd="2" destOrd="0" presId="urn:microsoft.com/office/officeart/2008/layout/NameandTitleOrganizationalChart"/>
    <dgm:cxn modelId="{A7AEEFEE-617E-4A9C-B8A9-3A1B0F0F7146}" type="presParOf" srcId="{D090D6DD-FC1F-45E2-9358-21E1E6EC59B5}" destId="{970FD034-5842-4C79-A5EB-C7B91D1E4922}" srcOrd="10" destOrd="0" presId="urn:microsoft.com/office/officeart/2008/layout/NameandTitleOrganizationalChart"/>
    <dgm:cxn modelId="{4573F334-D97A-4DA9-9883-CF18F8F10C95}" type="presParOf" srcId="{D090D6DD-FC1F-45E2-9358-21E1E6EC59B5}" destId="{81446B16-E054-40E5-B4A8-BA01DD37D4A6}" srcOrd="11" destOrd="0" presId="urn:microsoft.com/office/officeart/2008/layout/NameandTitleOrganizationalChart"/>
    <dgm:cxn modelId="{C3BE8A09-8B1A-41B1-A409-CFD028CC557A}" type="presParOf" srcId="{81446B16-E054-40E5-B4A8-BA01DD37D4A6}" destId="{7E06EB7B-9342-4FFA-B43C-62FB674843E6}" srcOrd="0" destOrd="0" presId="urn:microsoft.com/office/officeart/2008/layout/NameandTitleOrganizationalChart"/>
    <dgm:cxn modelId="{642C2128-A1F7-4CB9-B93A-05DCE47F472B}" type="presParOf" srcId="{7E06EB7B-9342-4FFA-B43C-62FB674843E6}" destId="{6C464F9B-1628-42E3-B582-9F22ADC2A1D1}" srcOrd="0" destOrd="0" presId="urn:microsoft.com/office/officeart/2008/layout/NameandTitleOrganizationalChart"/>
    <dgm:cxn modelId="{15B37E25-6B7B-443E-A75D-6AE72B5462A4}" type="presParOf" srcId="{7E06EB7B-9342-4FFA-B43C-62FB674843E6}" destId="{C1D68CE8-BFF0-4641-9EFD-9635DD82C560}" srcOrd="1" destOrd="0" presId="urn:microsoft.com/office/officeart/2008/layout/NameandTitleOrganizationalChart"/>
    <dgm:cxn modelId="{1C2C37D4-FC29-4CBD-9769-61B835C64D63}" type="presParOf" srcId="{7E06EB7B-9342-4FFA-B43C-62FB674843E6}" destId="{F5AF42EC-B063-40F8-B90C-FDD40262B7AF}" srcOrd="2" destOrd="0" presId="urn:microsoft.com/office/officeart/2008/layout/NameandTitleOrganizationalChart"/>
    <dgm:cxn modelId="{C7E2DE99-312F-4E03-8555-977E88AF423B}" type="presParOf" srcId="{81446B16-E054-40E5-B4A8-BA01DD37D4A6}" destId="{9F5F78B3-5148-4482-B7B8-85BC118B1237}" srcOrd="1" destOrd="0" presId="urn:microsoft.com/office/officeart/2008/layout/NameandTitleOrganizationalChart"/>
    <dgm:cxn modelId="{FCFC7917-98C8-4CE6-B10C-7E0FF66C65DB}" type="presParOf" srcId="{81446B16-E054-40E5-B4A8-BA01DD37D4A6}" destId="{E5DA0151-E7DA-4B76-B755-2B634A1F4247}" srcOrd="2" destOrd="0" presId="urn:microsoft.com/office/officeart/2008/layout/NameandTitleOrganizationalChart"/>
    <dgm:cxn modelId="{205C2FDD-4552-403D-A10B-CFCBED533670}" type="presParOf" srcId="{D090D6DD-FC1F-45E2-9358-21E1E6EC59B5}" destId="{6C6FFD59-5CAA-4849-9CBB-05E172DD3B76}" srcOrd="12" destOrd="0" presId="urn:microsoft.com/office/officeart/2008/layout/NameandTitleOrganizationalChart"/>
    <dgm:cxn modelId="{1D38157F-5CB5-4058-96CA-A0867A4D1625}" type="presParOf" srcId="{D090D6DD-FC1F-45E2-9358-21E1E6EC59B5}" destId="{9A2C7FA2-F3A8-4879-816B-F7688C45D0F7}" srcOrd="13" destOrd="0" presId="urn:microsoft.com/office/officeart/2008/layout/NameandTitleOrganizationalChart"/>
    <dgm:cxn modelId="{402C648B-CD33-414E-99BE-879D39782829}" type="presParOf" srcId="{9A2C7FA2-F3A8-4879-816B-F7688C45D0F7}" destId="{F1CF32CD-7FA3-47CC-940C-1896077217D0}" srcOrd="0" destOrd="0" presId="urn:microsoft.com/office/officeart/2008/layout/NameandTitleOrganizationalChart"/>
    <dgm:cxn modelId="{D1C18F51-23DB-4698-9AAB-2DDE4237F313}" type="presParOf" srcId="{F1CF32CD-7FA3-47CC-940C-1896077217D0}" destId="{27EA4E38-0157-47AC-BA1F-3D21E3CDEDCE}" srcOrd="0" destOrd="0" presId="urn:microsoft.com/office/officeart/2008/layout/NameandTitleOrganizationalChart"/>
    <dgm:cxn modelId="{0023D9EF-605E-418F-B2CF-3A4D0C772178}" type="presParOf" srcId="{F1CF32CD-7FA3-47CC-940C-1896077217D0}" destId="{51341394-568D-4589-9786-3D0CECFAD2C1}" srcOrd="1" destOrd="0" presId="urn:microsoft.com/office/officeart/2008/layout/NameandTitleOrganizationalChart"/>
    <dgm:cxn modelId="{031B72EE-9862-411A-A71A-6988C1E62442}" type="presParOf" srcId="{F1CF32CD-7FA3-47CC-940C-1896077217D0}" destId="{EC8121EE-8DC2-42A3-9ADE-1B8BD4F9DB15}" srcOrd="2" destOrd="0" presId="urn:microsoft.com/office/officeart/2008/layout/NameandTitleOrganizationalChart"/>
    <dgm:cxn modelId="{270EC627-0F03-4FB4-815D-EAE7C8BE8198}" type="presParOf" srcId="{9A2C7FA2-F3A8-4879-816B-F7688C45D0F7}" destId="{E55C99C6-ED53-4E69-982E-EBAC8954345D}" srcOrd="1" destOrd="0" presId="urn:microsoft.com/office/officeart/2008/layout/NameandTitleOrganizationalChart"/>
    <dgm:cxn modelId="{65BCB1A0-C3BE-48D2-9531-F39BF6F39B3E}" type="presParOf" srcId="{9A2C7FA2-F3A8-4879-816B-F7688C45D0F7}" destId="{8EB48BE2-C5EA-4D32-8BBF-A027974D7171}" srcOrd="2" destOrd="0" presId="urn:microsoft.com/office/officeart/2008/layout/NameandTitleOrganizationalChart"/>
    <dgm:cxn modelId="{A4A07BF3-19B4-48E7-9FD7-F87D929865B2}" type="presParOf" srcId="{9B5A92D1-A665-4878-B86C-016BA3D5DA2C}" destId="{909440D4-6F13-4424-9E75-D8A8F541115B}" srcOrd="2" destOrd="0" presId="urn:microsoft.com/office/officeart/2008/layout/NameandTitleOrganizationalChart"/>
    <dgm:cxn modelId="{E5258CF9-E96B-42B5-9266-01ADC5D615AF}" type="presParOf" srcId="{22BEB091-DFCC-44E8-8BE6-60DEF2065A1A}" destId="{C438932D-A0FA-467F-A8AA-928202CE55C4}" srcOrd="2" destOrd="0" presId="urn:microsoft.com/office/officeart/2008/layout/NameandTitleOrganizationalChart"/>
    <dgm:cxn modelId="{D609D9D5-672B-4196-8307-0ACF35009C74}" type="presParOf" srcId="{22BEB091-DFCC-44E8-8BE6-60DEF2065A1A}" destId="{DF2158F1-7FAB-4026-8AD3-F3F3E45638F7}" srcOrd="3" destOrd="0" presId="urn:microsoft.com/office/officeart/2008/layout/NameandTitleOrganizationalChart"/>
    <dgm:cxn modelId="{25B6E379-A67F-4901-B8ED-E30A2D53E202}" type="presParOf" srcId="{DF2158F1-7FAB-4026-8AD3-F3F3E45638F7}" destId="{95B2ACDA-3C23-4B0C-A1C4-697CB9B8DCB2}" srcOrd="0" destOrd="0" presId="urn:microsoft.com/office/officeart/2008/layout/NameandTitleOrganizationalChart"/>
    <dgm:cxn modelId="{8BCD29DD-61A3-45A7-B6F1-A2724C8600AD}" type="presParOf" srcId="{95B2ACDA-3C23-4B0C-A1C4-697CB9B8DCB2}" destId="{7E29A087-647C-4929-86E6-3802A316DA51}" srcOrd="0" destOrd="0" presId="urn:microsoft.com/office/officeart/2008/layout/NameandTitleOrganizationalChart"/>
    <dgm:cxn modelId="{654CBA9F-FC8F-4F10-B49D-EF2B536A6E84}" type="presParOf" srcId="{95B2ACDA-3C23-4B0C-A1C4-697CB9B8DCB2}" destId="{C385E9DF-B7B3-4E15-BB05-48ED2DF67BF0}" srcOrd="1" destOrd="0" presId="urn:microsoft.com/office/officeart/2008/layout/NameandTitleOrganizationalChart"/>
    <dgm:cxn modelId="{29EFE6F0-A8DC-4405-81E4-7C35B5B72EE1}" type="presParOf" srcId="{95B2ACDA-3C23-4B0C-A1C4-697CB9B8DCB2}" destId="{D875188F-7F54-4A25-9393-423C2DABD5A5}" srcOrd="2" destOrd="0" presId="urn:microsoft.com/office/officeart/2008/layout/NameandTitleOrganizationalChart"/>
    <dgm:cxn modelId="{C71BBDFE-ADAB-4278-8D34-2450E93EE763}" type="presParOf" srcId="{DF2158F1-7FAB-4026-8AD3-F3F3E45638F7}" destId="{F9C7A992-C382-471A-AF9A-6EBB807F74D2}" srcOrd="1" destOrd="0" presId="urn:microsoft.com/office/officeart/2008/layout/NameandTitleOrganizationalChart"/>
    <dgm:cxn modelId="{ED52F7F6-3AEC-482C-96D8-8945D5ECEA19}" type="presParOf" srcId="{DF2158F1-7FAB-4026-8AD3-F3F3E45638F7}" destId="{6BE3001F-5680-4824-A9A1-38D608887185}" srcOrd="2" destOrd="0" presId="urn:microsoft.com/office/officeart/2008/layout/NameandTitleOrganizationalChart"/>
    <dgm:cxn modelId="{979D4218-A945-401D-B21D-47D918114BFE}" type="presParOf" srcId="{22BEB091-DFCC-44E8-8BE6-60DEF2065A1A}" destId="{8A63A760-A62E-4261-A449-3177D33B6E1A}" srcOrd="4" destOrd="0" presId="urn:microsoft.com/office/officeart/2008/layout/NameandTitleOrganizationalChart"/>
    <dgm:cxn modelId="{B5B4CEB1-6AFB-462A-A7CD-C8564FB1B78C}" type="presParOf" srcId="{22BEB091-DFCC-44E8-8BE6-60DEF2065A1A}" destId="{B5AE4070-CBEB-4656-AE9A-4AAC86885076}" srcOrd="5" destOrd="0" presId="urn:microsoft.com/office/officeart/2008/layout/NameandTitleOrganizationalChart"/>
    <dgm:cxn modelId="{9E030584-B496-42BE-95DA-379435BD33EA}" type="presParOf" srcId="{B5AE4070-CBEB-4656-AE9A-4AAC86885076}" destId="{8D7ABBE2-0F77-4B6F-B4F4-654D21BBD792}" srcOrd="0" destOrd="0" presId="urn:microsoft.com/office/officeart/2008/layout/NameandTitleOrganizationalChart"/>
    <dgm:cxn modelId="{295A0475-43D4-4994-8C1B-04352A901DAC}" type="presParOf" srcId="{8D7ABBE2-0F77-4B6F-B4F4-654D21BBD792}" destId="{F21CFC41-3FE9-40C1-A74E-65E07F044F6C}" srcOrd="0" destOrd="0" presId="urn:microsoft.com/office/officeart/2008/layout/NameandTitleOrganizationalChart"/>
    <dgm:cxn modelId="{180D858F-3B5E-40C6-9AEA-7DAE64E8F2AD}" type="presParOf" srcId="{8D7ABBE2-0F77-4B6F-B4F4-654D21BBD792}" destId="{46472ACF-A3EE-4856-943A-4AD3A1701E52}" srcOrd="1" destOrd="0" presId="urn:microsoft.com/office/officeart/2008/layout/NameandTitleOrganizationalChart"/>
    <dgm:cxn modelId="{3AEF99E8-612C-45C6-A76F-4FE1C0FDFFAB}" type="presParOf" srcId="{8D7ABBE2-0F77-4B6F-B4F4-654D21BBD792}" destId="{A59325D8-87CF-4FF5-A8CE-68AFF6191AAF}" srcOrd="2" destOrd="0" presId="urn:microsoft.com/office/officeart/2008/layout/NameandTitleOrganizationalChart"/>
    <dgm:cxn modelId="{D415BEB8-1846-453F-82BC-E478679D145F}" type="presParOf" srcId="{B5AE4070-CBEB-4656-AE9A-4AAC86885076}" destId="{68682167-A3B5-4B16-A7FD-B07582CF4E9E}" srcOrd="1" destOrd="0" presId="urn:microsoft.com/office/officeart/2008/layout/NameandTitleOrganizationalChart"/>
    <dgm:cxn modelId="{1E5C39CE-5C50-41A9-8CBC-E5157835EFA1}" type="presParOf" srcId="{B5AE4070-CBEB-4656-AE9A-4AAC86885076}" destId="{5C51E8E3-E2C0-4138-9E3C-1F49B3D92CFD}" srcOrd="2" destOrd="0" presId="urn:microsoft.com/office/officeart/2008/layout/NameandTitleOrganizationalChart"/>
    <dgm:cxn modelId="{ACA98203-886B-4609-9891-B9E2BA5CCBBC}" type="presParOf" srcId="{3699A48D-1C0D-46D2-9501-AECC098F5597}" destId="{D3E02CCA-F8A4-4387-AD6F-807A29AB2AA4}" srcOrd="2" destOrd="0" presId="urn:microsoft.com/office/officeart/2008/layout/NameandTitleOrganizationalChart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AC270D21-6A98-4932-8C87-4EA932D596F5}" type="doc">
      <dgm:prSet loTypeId="urn:microsoft.com/office/officeart/2005/8/layout/hProcess9" loCatId="process" qsTypeId="urn:microsoft.com/office/officeart/2005/8/quickstyle/simple1" qsCatId="simple" csTypeId="urn:microsoft.com/office/officeart/2005/8/colors/accent1_2" csCatId="accent1" phldr="1"/>
      <dgm:spPr/>
    </dgm:pt>
    <dgm:pt modelId="{454E62D2-3795-4A6B-8A4E-79D886945A9D}">
      <dgm:prSet phldrT="[Teksti]"/>
      <dgm:spPr/>
      <dgm:t>
        <a:bodyPr/>
        <a:lstStyle/>
        <a:p>
          <a:r>
            <a:rPr lang="fi-FI" dirty="0"/>
            <a:t>Lautakunnat ja jaostot </a:t>
          </a:r>
        </a:p>
        <a:p>
          <a:r>
            <a:rPr lang="fi-FI" dirty="0"/>
            <a:t>Vaikuttamistoimielimet</a:t>
          </a:r>
        </a:p>
      </dgm:t>
    </dgm:pt>
    <dgm:pt modelId="{68F41C67-19EC-4365-8C5C-25943A84A18C}" type="parTrans" cxnId="{0A6E1D4D-0ED6-470F-80CC-AB1A8D87A960}">
      <dgm:prSet/>
      <dgm:spPr/>
      <dgm:t>
        <a:bodyPr/>
        <a:lstStyle/>
        <a:p>
          <a:endParaRPr lang="fi-FI"/>
        </a:p>
      </dgm:t>
    </dgm:pt>
    <dgm:pt modelId="{9CA73133-FE0C-4600-8D01-8032FDB01F3F}" type="sibTrans" cxnId="{0A6E1D4D-0ED6-470F-80CC-AB1A8D87A960}">
      <dgm:prSet/>
      <dgm:spPr/>
      <dgm:t>
        <a:bodyPr/>
        <a:lstStyle/>
        <a:p>
          <a:endParaRPr lang="fi-FI"/>
        </a:p>
      </dgm:t>
    </dgm:pt>
    <dgm:pt modelId="{387DB55C-8C00-433B-9E8A-ADA931504F67}">
      <dgm:prSet phldrT="[Teksti]"/>
      <dgm:spPr/>
      <dgm:t>
        <a:bodyPr/>
        <a:lstStyle/>
        <a:p>
          <a:r>
            <a:rPr lang="fi-FI" dirty="0"/>
            <a:t>Aluehallitus</a:t>
          </a:r>
        </a:p>
      </dgm:t>
    </dgm:pt>
    <dgm:pt modelId="{C15DDCC3-B2F8-4985-AB60-ECF38193570D}" type="parTrans" cxnId="{D2311E88-42A2-4E22-A9A3-C74F0BC091C0}">
      <dgm:prSet/>
      <dgm:spPr/>
      <dgm:t>
        <a:bodyPr/>
        <a:lstStyle/>
        <a:p>
          <a:endParaRPr lang="fi-FI"/>
        </a:p>
      </dgm:t>
    </dgm:pt>
    <dgm:pt modelId="{AEBE510F-373D-4CDB-9617-39245C2E6AEE}" type="sibTrans" cxnId="{D2311E88-42A2-4E22-A9A3-C74F0BC091C0}">
      <dgm:prSet/>
      <dgm:spPr/>
      <dgm:t>
        <a:bodyPr/>
        <a:lstStyle/>
        <a:p>
          <a:endParaRPr lang="fi-FI"/>
        </a:p>
      </dgm:t>
    </dgm:pt>
    <dgm:pt modelId="{5307E88F-4983-4D3D-8A4A-1A57B565BA78}">
      <dgm:prSet phldrT="[Teksti]"/>
      <dgm:spPr/>
      <dgm:t>
        <a:bodyPr/>
        <a:lstStyle/>
        <a:p>
          <a:r>
            <a:rPr lang="fi-FI" dirty="0"/>
            <a:t>Aluevaltuusto</a:t>
          </a:r>
        </a:p>
      </dgm:t>
    </dgm:pt>
    <dgm:pt modelId="{907D4D2E-166D-4C12-B545-AC5E7F19B7D2}" type="parTrans" cxnId="{D9E29111-921F-49FE-9DAD-FCBFBD230140}">
      <dgm:prSet/>
      <dgm:spPr/>
      <dgm:t>
        <a:bodyPr/>
        <a:lstStyle/>
        <a:p>
          <a:endParaRPr lang="fi-FI"/>
        </a:p>
      </dgm:t>
    </dgm:pt>
    <dgm:pt modelId="{4F215EC5-C647-4120-8B50-8BD8C550512F}" type="sibTrans" cxnId="{D9E29111-921F-49FE-9DAD-FCBFBD230140}">
      <dgm:prSet/>
      <dgm:spPr/>
      <dgm:t>
        <a:bodyPr/>
        <a:lstStyle/>
        <a:p>
          <a:endParaRPr lang="fi-FI"/>
        </a:p>
      </dgm:t>
    </dgm:pt>
    <dgm:pt modelId="{1EEEB6E0-D297-4C4C-B4C2-96BD4660BC0A}" type="pres">
      <dgm:prSet presAssocID="{AC270D21-6A98-4932-8C87-4EA932D596F5}" presName="CompostProcess" presStyleCnt="0">
        <dgm:presLayoutVars>
          <dgm:dir/>
          <dgm:resizeHandles val="exact"/>
        </dgm:presLayoutVars>
      </dgm:prSet>
      <dgm:spPr/>
    </dgm:pt>
    <dgm:pt modelId="{6F217F3C-0B91-49A0-86D6-8C14481C8114}" type="pres">
      <dgm:prSet presAssocID="{AC270D21-6A98-4932-8C87-4EA932D596F5}" presName="arrow" presStyleLbl="bgShp" presStyleIdx="0" presStyleCnt="1"/>
      <dgm:spPr/>
    </dgm:pt>
    <dgm:pt modelId="{DFDF4C60-C454-4AE3-9A43-ACE64DE6600F}" type="pres">
      <dgm:prSet presAssocID="{AC270D21-6A98-4932-8C87-4EA932D596F5}" presName="linearProcess" presStyleCnt="0"/>
      <dgm:spPr/>
    </dgm:pt>
    <dgm:pt modelId="{8B1A73D7-E238-44C6-B387-90884A3A94F1}" type="pres">
      <dgm:prSet presAssocID="{454E62D2-3795-4A6B-8A4E-79D886945A9D}" presName="textNode" presStyleLbl="node1" presStyleIdx="0" presStyleCnt="3">
        <dgm:presLayoutVars>
          <dgm:bulletEnabled val="1"/>
        </dgm:presLayoutVars>
      </dgm:prSet>
      <dgm:spPr/>
    </dgm:pt>
    <dgm:pt modelId="{353CE2A9-7754-40D8-A9C8-614B12D02A3E}" type="pres">
      <dgm:prSet presAssocID="{9CA73133-FE0C-4600-8D01-8032FDB01F3F}" presName="sibTrans" presStyleCnt="0"/>
      <dgm:spPr/>
    </dgm:pt>
    <dgm:pt modelId="{6D65E350-C7AC-4BF4-BC56-3D87DF693208}" type="pres">
      <dgm:prSet presAssocID="{387DB55C-8C00-433B-9E8A-ADA931504F67}" presName="textNode" presStyleLbl="node1" presStyleIdx="1" presStyleCnt="3">
        <dgm:presLayoutVars>
          <dgm:bulletEnabled val="1"/>
        </dgm:presLayoutVars>
      </dgm:prSet>
      <dgm:spPr/>
    </dgm:pt>
    <dgm:pt modelId="{649E97DB-D5A2-406B-BF2E-331E937BD1D3}" type="pres">
      <dgm:prSet presAssocID="{AEBE510F-373D-4CDB-9617-39245C2E6AEE}" presName="sibTrans" presStyleCnt="0"/>
      <dgm:spPr/>
    </dgm:pt>
    <dgm:pt modelId="{48529DAD-A707-4B33-959D-01D94C7F6C03}" type="pres">
      <dgm:prSet presAssocID="{5307E88F-4983-4D3D-8A4A-1A57B565BA78}" presName="textNode" presStyleLbl="node1" presStyleIdx="2" presStyleCnt="3">
        <dgm:presLayoutVars>
          <dgm:bulletEnabled val="1"/>
        </dgm:presLayoutVars>
      </dgm:prSet>
      <dgm:spPr/>
    </dgm:pt>
  </dgm:ptLst>
  <dgm:cxnLst>
    <dgm:cxn modelId="{D9E29111-921F-49FE-9DAD-FCBFBD230140}" srcId="{AC270D21-6A98-4932-8C87-4EA932D596F5}" destId="{5307E88F-4983-4D3D-8A4A-1A57B565BA78}" srcOrd="2" destOrd="0" parTransId="{907D4D2E-166D-4C12-B545-AC5E7F19B7D2}" sibTransId="{4F215EC5-C647-4120-8B50-8BD8C550512F}"/>
    <dgm:cxn modelId="{B7819D1E-44CE-444B-96A0-2A08525CB6C8}" type="presOf" srcId="{387DB55C-8C00-433B-9E8A-ADA931504F67}" destId="{6D65E350-C7AC-4BF4-BC56-3D87DF693208}" srcOrd="0" destOrd="0" presId="urn:microsoft.com/office/officeart/2005/8/layout/hProcess9"/>
    <dgm:cxn modelId="{0A6E1D4D-0ED6-470F-80CC-AB1A8D87A960}" srcId="{AC270D21-6A98-4932-8C87-4EA932D596F5}" destId="{454E62D2-3795-4A6B-8A4E-79D886945A9D}" srcOrd="0" destOrd="0" parTransId="{68F41C67-19EC-4365-8C5C-25943A84A18C}" sibTransId="{9CA73133-FE0C-4600-8D01-8032FDB01F3F}"/>
    <dgm:cxn modelId="{D2311E88-42A2-4E22-A9A3-C74F0BC091C0}" srcId="{AC270D21-6A98-4932-8C87-4EA932D596F5}" destId="{387DB55C-8C00-433B-9E8A-ADA931504F67}" srcOrd="1" destOrd="0" parTransId="{C15DDCC3-B2F8-4985-AB60-ECF38193570D}" sibTransId="{AEBE510F-373D-4CDB-9617-39245C2E6AEE}"/>
    <dgm:cxn modelId="{29A0478B-5BD0-40F4-9858-E819E68370B9}" type="presOf" srcId="{AC270D21-6A98-4932-8C87-4EA932D596F5}" destId="{1EEEB6E0-D297-4C4C-B4C2-96BD4660BC0A}" srcOrd="0" destOrd="0" presId="urn:microsoft.com/office/officeart/2005/8/layout/hProcess9"/>
    <dgm:cxn modelId="{168331B7-7C0E-4645-A67A-C90F44B00E5B}" type="presOf" srcId="{454E62D2-3795-4A6B-8A4E-79D886945A9D}" destId="{8B1A73D7-E238-44C6-B387-90884A3A94F1}" srcOrd="0" destOrd="0" presId="urn:microsoft.com/office/officeart/2005/8/layout/hProcess9"/>
    <dgm:cxn modelId="{370E46BB-7845-4ACE-BC54-7F3D04222F38}" type="presOf" srcId="{5307E88F-4983-4D3D-8A4A-1A57B565BA78}" destId="{48529DAD-A707-4B33-959D-01D94C7F6C03}" srcOrd="0" destOrd="0" presId="urn:microsoft.com/office/officeart/2005/8/layout/hProcess9"/>
    <dgm:cxn modelId="{D53EAAC0-BF0B-4A0E-9F9C-51AE8B8DB672}" type="presParOf" srcId="{1EEEB6E0-D297-4C4C-B4C2-96BD4660BC0A}" destId="{6F217F3C-0B91-49A0-86D6-8C14481C8114}" srcOrd="0" destOrd="0" presId="urn:microsoft.com/office/officeart/2005/8/layout/hProcess9"/>
    <dgm:cxn modelId="{2D6AB3F2-2E76-4235-A948-260876B158C1}" type="presParOf" srcId="{1EEEB6E0-D297-4C4C-B4C2-96BD4660BC0A}" destId="{DFDF4C60-C454-4AE3-9A43-ACE64DE6600F}" srcOrd="1" destOrd="0" presId="urn:microsoft.com/office/officeart/2005/8/layout/hProcess9"/>
    <dgm:cxn modelId="{926B2114-4129-46ED-9141-21E360F7E132}" type="presParOf" srcId="{DFDF4C60-C454-4AE3-9A43-ACE64DE6600F}" destId="{8B1A73D7-E238-44C6-B387-90884A3A94F1}" srcOrd="0" destOrd="0" presId="urn:microsoft.com/office/officeart/2005/8/layout/hProcess9"/>
    <dgm:cxn modelId="{DDC6C465-243D-4A1B-A52A-ED247B828BD5}" type="presParOf" srcId="{DFDF4C60-C454-4AE3-9A43-ACE64DE6600F}" destId="{353CE2A9-7754-40D8-A9C8-614B12D02A3E}" srcOrd="1" destOrd="0" presId="urn:microsoft.com/office/officeart/2005/8/layout/hProcess9"/>
    <dgm:cxn modelId="{21A9A574-B55B-4B84-A471-E2FFE6F50B92}" type="presParOf" srcId="{DFDF4C60-C454-4AE3-9A43-ACE64DE6600F}" destId="{6D65E350-C7AC-4BF4-BC56-3D87DF693208}" srcOrd="2" destOrd="0" presId="urn:microsoft.com/office/officeart/2005/8/layout/hProcess9"/>
    <dgm:cxn modelId="{B89D73A9-49EA-4B02-860D-5D31AE2F4050}" type="presParOf" srcId="{DFDF4C60-C454-4AE3-9A43-ACE64DE6600F}" destId="{649E97DB-D5A2-406B-BF2E-331E937BD1D3}" srcOrd="3" destOrd="0" presId="urn:microsoft.com/office/officeart/2005/8/layout/hProcess9"/>
    <dgm:cxn modelId="{A8FFE9D7-A31A-48C4-9297-0E48A95F62B0}" type="presParOf" srcId="{DFDF4C60-C454-4AE3-9A43-ACE64DE6600F}" destId="{48529DAD-A707-4B33-959D-01D94C7F6C03}" srcOrd="4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A63A760-A62E-4261-A449-3177D33B6E1A}">
      <dsp:nvSpPr>
        <dsp:cNvPr id="0" name=""/>
        <dsp:cNvSpPr/>
      </dsp:nvSpPr>
      <dsp:spPr>
        <a:xfrm>
          <a:off x="7291284" y="1005291"/>
          <a:ext cx="1513263" cy="119299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070491"/>
              </a:lnTo>
              <a:lnTo>
                <a:pt x="1513263" y="1070491"/>
              </a:lnTo>
              <a:lnTo>
                <a:pt x="1513263" y="1192999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438932D-A0FA-467F-A8AA-928202CE55C4}">
      <dsp:nvSpPr>
        <dsp:cNvPr id="0" name=""/>
        <dsp:cNvSpPr/>
      </dsp:nvSpPr>
      <dsp:spPr>
        <a:xfrm>
          <a:off x="7140356" y="1005291"/>
          <a:ext cx="150927" cy="1186846"/>
        </a:xfrm>
        <a:custGeom>
          <a:avLst/>
          <a:gdLst/>
          <a:ahLst/>
          <a:cxnLst/>
          <a:rect l="0" t="0" r="0" b="0"/>
          <a:pathLst>
            <a:path>
              <a:moveTo>
                <a:pt x="150927" y="0"/>
              </a:moveTo>
              <a:lnTo>
                <a:pt x="150927" y="1064338"/>
              </a:lnTo>
              <a:lnTo>
                <a:pt x="0" y="1064338"/>
              </a:lnTo>
              <a:lnTo>
                <a:pt x="0" y="1186846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C6FFD59-5CAA-4849-9CBB-05E172DD3B76}">
      <dsp:nvSpPr>
        <dsp:cNvPr id="0" name=""/>
        <dsp:cNvSpPr/>
      </dsp:nvSpPr>
      <dsp:spPr>
        <a:xfrm>
          <a:off x="5672217" y="2451036"/>
          <a:ext cx="4938809" cy="89882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76319"/>
              </a:lnTo>
              <a:lnTo>
                <a:pt x="4938809" y="776319"/>
              </a:lnTo>
              <a:lnTo>
                <a:pt x="4938809" y="898827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70FD034-5842-4C79-A5EB-C7B91D1E4922}">
      <dsp:nvSpPr>
        <dsp:cNvPr id="0" name=""/>
        <dsp:cNvSpPr/>
      </dsp:nvSpPr>
      <dsp:spPr>
        <a:xfrm>
          <a:off x="5672217" y="2451036"/>
          <a:ext cx="3115742" cy="97939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856886"/>
              </a:lnTo>
              <a:lnTo>
                <a:pt x="3115742" y="856886"/>
              </a:lnTo>
              <a:lnTo>
                <a:pt x="3115742" y="979394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C835957-B959-4F3F-B101-867CBE20C159}">
      <dsp:nvSpPr>
        <dsp:cNvPr id="0" name=""/>
        <dsp:cNvSpPr/>
      </dsp:nvSpPr>
      <dsp:spPr>
        <a:xfrm>
          <a:off x="5672217" y="2451036"/>
          <a:ext cx="1517956" cy="137273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250230"/>
              </a:lnTo>
              <a:lnTo>
                <a:pt x="1517956" y="1250230"/>
              </a:lnTo>
              <a:lnTo>
                <a:pt x="1517956" y="1372738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03EAFE4-7D6E-4CFB-99B1-3AE44293D59A}">
      <dsp:nvSpPr>
        <dsp:cNvPr id="0" name=""/>
        <dsp:cNvSpPr/>
      </dsp:nvSpPr>
      <dsp:spPr>
        <a:xfrm>
          <a:off x="5568195" y="2451036"/>
          <a:ext cx="104021" cy="1054493"/>
        </a:xfrm>
        <a:custGeom>
          <a:avLst/>
          <a:gdLst/>
          <a:ahLst/>
          <a:cxnLst/>
          <a:rect l="0" t="0" r="0" b="0"/>
          <a:pathLst>
            <a:path>
              <a:moveTo>
                <a:pt x="104021" y="0"/>
              </a:moveTo>
              <a:lnTo>
                <a:pt x="104021" y="931985"/>
              </a:lnTo>
              <a:lnTo>
                <a:pt x="0" y="931985"/>
              </a:lnTo>
              <a:lnTo>
                <a:pt x="0" y="1054493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F414B1B-494C-4732-9A4E-D17421266E8B}">
      <dsp:nvSpPr>
        <dsp:cNvPr id="0" name=""/>
        <dsp:cNvSpPr/>
      </dsp:nvSpPr>
      <dsp:spPr>
        <a:xfrm>
          <a:off x="4020633" y="2451036"/>
          <a:ext cx="1651583" cy="708381"/>
        </a:xfrm>
        <a:custGeom>
          <a:avLst/>
          <a:gdLst/>
          <a:ahLst/>
          <a:cxnLst/>
          <a:rect l="0" t="0" r="0" b="0"/>
          <a:pathLst>
            <a:path>
              <a:moveTo>
                <a:pt x="1651583" y="0"/>
              </a:moveTo>
              <a:lnTo>
                <a:pt x="1651583" y="585873"/>
              </a:lnTo>
              <a:lnTo>
                <a:pt x="0" y="585873"/>
              </a:lnTo>
              <a:lnTo>
                <a:pt x="0" y="708381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BE7AF04-B0FC-4A72-A94F-BFCDFEFFA8B1}">
      <dsp:nvSpPr>
        <dsp:cNvPr id="0" name=""/>
        <dsp:cNvSpPr/>
      </dsp:nvSpPr>
      <dsp:spPr>
        <a:xfrm>
          <a:off x="2246442" y="2405316"/>
          <a:ext cx="3425774" cy="91440"/>
        </a:xfrm>
        <a:custGeom>
          <a:avLst/>
          <a:gdLst/>
          <a:ahLst/>
          <a:cxnLst/>
          <a:rect l="0" t="0" r="0" b="0"/>
          <a:pathLst>
            <a:path>
              <a:moveTo>
                <a:pt x="3425774" y="45720"/>
              </a:moveTo>
              <a:lnTo>
                <a:pt x="0" y="45720"/>
              </a:lnTo>
              <a:lnTo>
                <a:pt x="0" y="131690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261AE55-5E12-4053-8DDB-3EC712BEB1E3}">
      <dsp:nvSpPr>
        <dsp:cNvPr id="0" name=""/>
        <dsp:cNvSpPr/>
      </dsp:nvSpPr>
      <dsp:spPr>
        <a:xfrm>
          <a:off x="3008582" y="858083"/>
          <a:ext cx="2663635" cy="1592953"/>
        </a:xfrm>
        <a:custGeom>
          <a:avLst/>
          <a:gdLst/>
          <a:ahLst/>
          <a:cxnLst/>
          <a:rect l="0" t="0" r="0" b="0"/>
          <a:pathLst>
            <a:path>
              <a:moveTo>
                <a:pt x="2663635" y="1592953"/>
              </a:moveTo>
              <a:lnTo>
                <a:pt x="0" y="0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8F6D2D6-8B38-4099-86D2-E8EF26DE4363}">
      <dsp:nvSpPr>
        <dsp:cNvPr id="0" name=""/>
        <dsp:cNvSpPr/>
      </dsp:nvSpPr>
      <dsp:spPr>
        <a:xfrm>
          <a:off x="5672217" y="1005291"/>
          <a:ext cx="1619066" cy="920712"/>
        </a:xfrm>
        <a:custGeom>
          <a:avLst/>
          <a:gdLst/>
          <a:ahLst/>
          <a:cxnLst/>
          <a:rect l="0" t="0" r="0" b="0"/>
          <a:pathLst>
            <a:path>
              <a:moveTo>
                <a:pt x="1619066" y="0"/>
              </a:moveTo>
              <a:lnTo>
                <a:pt x="1619066" y="798204"/>
              </a:lnTo>
              <a:lnTo>
                <a:pt x="0" y="798204"/>
              </a:lnTo>
              <a:lnTo>
                <a:pt x="0" y="920712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3955F60-506E-4D9D-A5A7-A392BD946542}">
      <dsp:nvSpPr>
        <dsp:cNvPr id="0" name=""/>
        <dsp:cNvSpPr/>
      </dsp:nvSpPr>
      <dsp:spPr>
        <a:xfrm>
          <a:off x="6406521" y="480259"/>
          <a:ext cx="1769526" cy="525032"/>
        </a:xfrm>
        <a:prstGeom prst="rect">
          <a:avLst/>
        </a:prstGeom>
        <a:solidFill>
          <a:srgbClr val="23ACEC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4088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200" kern="1200" dirty="0"/>
            <a:t>Aluevaltuusto</a:t>
          </a:r>
        </a:p>
      </dsp:txBody>
      <dsp:txXfrm>
        <a:off x="6406521" y="480259"/>
        <a:ext cx="1769526" cy="525032"/>
      </dsp:txXfrm>
    </dsp:sp>
    <dsp:sp modelId="{98EBD8F6-95C3-4B30-B24A-D8B8C8D5480A}">
      <dsp:nvSpPr>
        <dsp:cNvPr id="0" name=""/>
        <dsp:cNvSpPr/>
      </dsp:nvSpPr>
      <dsp:spPr>
        <a:xfrm>
          <a:off x="6460489" y="897933"/>
          <a:ext cx="1718309" cy="922531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7940" tIns="6985" rIns="27940" bIns="6985" numCol="1" spcCol="1270" anchor="ctr" anchorCtr="0">
          <a:noAutofit/>
        </a:bodyPr>
        <a:lstStyle/>
        <a:p>
          <a:pPr marL="0" lvl="0" indent="0" algn="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100" kern="1200" dirty="0"/>
            <a:t>Ylin päätäntävalta </a:t>
          </a:r>
          <a:br>
            <a:rPr lang="fi-FI" sz="1100" kern="1200" dirty="0"/>
          </a:br>
          <a:r>
            <a:rPr lang="fi-FI" sz="1100" kern="1200" dirty="0"/>
            <a:t>Periaatteet, strategia, talousarvio ja raamit</a:t>
          </a:r>
        </a:p>
      </dsp:txBody>
      <dsp:txXfrm>
        <a:off x="6460489" y="897933"/>
        <a:ext cx="1718309" cy="922531"/>
      </dsp:txXfrm>
    </dsp:sp>
    <dsp:sp modelId="{85CC8493-3286-4372-A981-2ACEC7BF561D}">
      <dsp:nvSpPr>
        <dsp:cNvPr id="0" name=""/>
        <dsp:cNvSpPr/>
      </dsp:nvSpPr>
      <dsp:spPr>
        <a:xfrm>
          <a:off x="5165189" y="1926004"/>
          <a:ext cx="1014055" cy="525032"/>
        </a:xfrm>
        <a:prstGeom prst="rect">
          <a:avLst/>
        </a:prstGeom>
        <a:solidFill>
          <a:srgbClr val="23ACEC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4088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200" kern="1200" dirty="0"/>
            <a:t>Aluehallitus</a:t>
          </a:r>
        </a:p>
      </dsp:txBody>
      <dsp:txXfrm>
        <a:off x="5165189" y="1926004"/>
        <a:ext cx="1014055" cy="525032"/>
      </dsp:txXfrm>
    </dsp:sp>
    <dsp:sp modelId="{0200B958-ED26-4DA0-8848-DD6896CA1876}">
      <dsp:nvSpPr>
        <dsp:cNvPr id="0" name=""/>
        <dsp:cNvSpPr/>
      </dsp:nvSpPr>
      <dsp:spPr>
        <a:xfrm>
          <a:off x="5201697" y="2310140"/>
          <a:ext cx="958355" cy="452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6350" rIns="25400" bIns="6350" numCol="1" spcCol="1270" anchor="ctr" anchorCtr="0">
          <a:noAutofit/>
        </a:bodyPr>
        <a:lstStyle/>
        <a:p>
          <a:pPr marL="0" lvl="0" indent="0" algn="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000" kern="1200" dirty="0"/>
            <a:t>Talous, toiminta ja hallinto</a:t>
          </a:r>
        </a:p>
      </dsp:txBody>
      <dsp:txXfrm>
        <a:off x="5201697" y="2310140"/>
        <a:ext cx="958355" cy="452800"/>
      </dsp:txXfrm>
    </dsp:sp>
    <dsp:sp modelId="{B0FACB75-8E4B-4476-AE5C-1502766FBCA1}">
      <dsp:nvSpPr>
        <dsp:cNvPr id="0" name=""/>
        <dsp:cNvSpPr/>
      </dsp:nvSpPr>
      <dsp:spPr>
        <a:xfrm>
          <a:off x="2501554" y="858083"/>
          <a:ext cx="1014055" cy="525032"/>
        </a:xfrm>
        <a:prstGeom prst="rect">
          <a:avLst/>
        </a:prstGeom>
        <a:solidFill>
          <a:srgbClr val="23ACEC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74088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100" kern="1200" dirty="0"/>
            <a:t>Yksilöjaosto</a:t>
          </a:r>
        </a:p>
      </dsp:txBody>
      <dsp:txXfrm>
        <a:off x="2501554" y="858083"/>
        <a:ext cx="1014055" cy="525032"/>
      </dsp:txXfrm>
    </dsp:sp>
    <dsp:sp modelId="{ABBCEB66-23CB-4813-9859-803A4601923A}">
      <dsp:nvSpPr>
        <dsp:cNvPr id="0" name=""/>
        <dsp:cNvSpPr/>
      </dsp:nvSpPr>
      <dsp:spPr>
        <a:xfrm>
          <a:off x="2422132" y="1271351"/>
          <a:ext cx="1149765" cy="694971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6350" rIns="25400" bIns="6350" numCol="1" spcCol="1270" anchor="ctr" anchorCtr="0">
          <a:noAutofit/>
        </a:bodyPr>
        <a:lstStyle/>
        <a:p>
          <a:pPr marL="0" lvl="0" indent="0" algn="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000" kern="1200" dirty="0"/>
            <a:t>Yksilöä ja perheitä koskevat sosiaali- ja terveysasiat (esim. oikaisuvaatimukset) </a:t>
          </a:r>
        </a:p>
      </dsp:txBody>
      <dsp:txXfrm>
        <a:off x="2422132" y="1271351"/>
        <a:ext cx="1149765" cy="694971"/>
      </dsp:txXfrm>
    </dsp:sp>
    <dsp:sp modelId="{DA3DC7E7-1EDB-4DBD-9817-BD2340D469AA}">
      <dsp:nvSpPr>
        <dsp:cNvPr id="0" name=""/>
        <dsp:cNvSpPr/>
      </dsp:nvSpPr>
      <dsp:spPr>
        <a:xfrm>
          <a:off x="1550993" y="2537007"/>
          <a:ext cx="1390898" cy="63835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74088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000" kern="1200" dirty="0"/>
            <a:t>Kansalliskielilautakunta</a:t>
          </a:r>
        </a:p>
      </dsp:txBody>
      <dsp:txXfrm>
        <a:off x="1550993" y="2537007"/>
        <a:ext cx="1390898" cy="638350"/>
      </dsp:txXfrm>
    </dsp:sp>
    <dsp:sp modelId="{A31C4990-C806-4BAE-A2D4-CC90C8F575FB}">
      <dsp:nvSpPr>
        <dsp:cNvPr id="0" name=""/>
        <dsp:cNvSpPr/>
      </dsp:nvSpPr>
      <dsp:spPr>
        <a:xfrm>
          <a:off x="1582406" y="3074805"/>
          <a:ext cx="1326609" cy="82338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5715" rIns="22860" bIns="5715" numCol="1" spcCol="1270" anchor="ctr" anchorCtr="0">
          <a:noAutofit/>
        </a:bodyPr>
        <a:lstStyle/>
        <a:p>
          <a:pPr marL="0" lvl="0" indent="0" algn="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900" kern="1200" dirty="0"/>
            <a:t>Kaksikielisten palvelujen seuranta</a:t>
          </a:r>
        </a:p>
        <a:p>
          <a:pPr marL="0" lvl="0" indent="0" algn="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900" kern="1200" dirty="0"/>
            <a:t>Kieliohjelman laadinta</a:t>
          </a:r>
          <a:br>
            <a:rPr lang="fi-FI" sz="900" kern="1200" dirty="0"/>
          </a:br>
          <a:r>
            <a:rPr lang="fi-FI" sz="900" kern="1200" dirty="0"/>
            <a:t>Kielellisten oikeuksien toteutuminen  </a:t>
          </a:r>
        </a:p>
      </dsp:txBody>
      <dsp:txXfrm>
        <a:off x="1582406" y="3074805"/>
        <a:ext cx="1326609" cy="823380"/>
      </dsp:txXfrm>
    </dsp:sp>
    <dsp:sp modelId="{F4E8E994-15E8-446B-9BA7-8D9DD72A03D5}">
      <dsp:nvSpPr>
        <dsp:cNvPr id="0" name=""/>
        <dsp:cNvSpPr/>
      </dsp:nvSpPr>
      <dsp:spPr>
        <a:xfrm>
          <a:off x="3351063" y="3159417"/>
          <a:ext cx="1339141" cy="52503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4088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200" kern="1200" dirty="0"/>
            <a:t>Edunvalvontajaosto</a:t>
          </a:r>
        </a:p>
      </dsp:txBody>
      <dsp:txXfrm>
        <a:off x="3351063" y="3159417"/>
        <a:ext cx="1339141" cy="525032"/>
      </dsp:txXfrm>
    </dsp:sp>
    <dsp:sp modelId="{6E5D5F96-72D0-4BA8-8581-7FE93A846F02}">
      <dsp:nvSpPr>
        <dsp:cNvPr id="0" name=""/>
        <dsp:cNvSpPr/>
      </dsp:nvSpPr>
      <dsp:spPr>
        <a:xfrm>
          <a:off x="3464306" y="3475494"/>
          <a:ext cx="1114929" cy="369253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7940" tIns="6985" rIns="27940" bIns="6985" numCol="1" spcCol="1270" anchor="ctr" anchorCtr="0">
          <a:noAutofit/>
        </a:bodyPr>
        <a:lstStyle/>
        <a:p>
          <a:pPr marL="0" lvl="0" indent="0" algn="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050" kern="1200" dirty="0"/>
            <a:t>Tehtävät tarkentuvat</a:t>
          </a:r>
        </a:p>
      </dsp:txBody>
      <dsp:txXfrm>
        <a:off x="3464306" y="3475494"/>
        <a:ext cx="1114929" cy="369253"/>
      </dsp:txXfrm>
    </dsp:sp>
    <dsp:sp modelId="{3AFFEA35-F27E-4E12-AC1B-E3B430512200}">
      <dsp:nvSpPr>
        <dsp:cNvPr id="0" name=""/>
        <dsp:cNvSpPr/>
      </dsp:nvSpPr>
      <dsp:spPr>
        <a:xfrm>
          <a:off x="4975222" y="3505530"/>
          <a:ext cx="1185947" cy="525032"/>
        </a:xfrm>
        <a:prstGeom prst="rect">
          <a:avLst/>
        </a:prstGeom>
        <a:solidFill>
          <a:schemeClr val="accent2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74088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050" kern="1200" dirty="0"/>
            <a:t>Pelastuslautakunta</a:t>
          </a:r>
        </a:p>
      </dsp:txBody>
      <dsp:txXfrm>
        <a:off x="4975222" y="3505530"/>
        <a:ext cx="1185947" cy="525032"/>
      </dsp:txXfrm>
    </dsp:sp>
    <dsp:sp modelId="{DA172914-2B05-4BCE-9255-78CB276523DC}">
      <dsp:nvSpPr>
        <dsp:cNvPr id="0" name=""/>
        <dsp:cNvSpPr/>
      </dsp:nvSpPr>
      <dsp:spPr>
        <a:xfrm>
          <a:off x="4967413" y="3956101"/>
          <a:ext cx="1109654" cy="637067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7620" rIns="30480" bIns="7620" numCol="1" spcCol="1270" anchor="ctr" anchorCtr="0">
          <a:noAutofit/>
        </a:bodyPr>
        <a:lstStyle/>
        <a:p>
          <a:pPr marL="0" lvl="0" indent="0" algn="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200" kern="1200" dirty="0"/>
            <a:t>Tehtäviä ei vielä määritelty</a:t>
          </a:r>
        </a:p>
      </dsp:txBody>
      <dsp:txXfrm>
        <a:off x="4967413" y="3956101"/>
        <a:ext cx="1109654" cy="637067"/>
      </dsp:txXfrm>
    </dsp:sp>
    <dsp:sp modelId="{9FF9F62F-1A8D-4FE5-ACFE-70B9294F20E9}">
      <dsp:nvSpPr>
        <dsp:cNvPr id="0" name=""/>
        <dsp:cNvSpPr/>
      </dsp:nvSpPr>
      <dsp:spPr>
        <a:xfrm>
          <a:off x="6590856" y="3823775"/>
          <a:ext cx="1198633" cy="52503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74088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100" kern="1200" dirty="0"/>
            <a:t>Lähidemokratia- ja osallisuuslautakunta</a:t>
          </a:r>
        </a:p>
      </dsp:txBody>
      <dsp:txXfrm>
        <a:off x="6590856" y="3823775"/>
        <a:ext cx="1198633" cy="525032"/>
      </dsp:txXfrm>
    </dsp:sp>
    <dsp:sp modelId="{FE01EC76-4BC0-41B0-84A6-395E9BEF47BC}">
      <dsp:nvSpPr>
        <dsp:cNvPr id="0" name=""/>
        <dsp:cNvSpPr/>
      </dsp:nvSpPr>
      <dsp:spPr>
        <a:xfrm>
          <a:off x="6551851" y="4265182"/>
          <a:ext cx="1232506" cy="1100645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5715" rIns="22860" bIns="5715" numCol="1" spcCol="1270" anchor="ctr" anchorCtr="0">
          <a:noAutofit/>
        </a:bodyPr>
        <a:lstStyle/>
        <a:p>
          <a:pPr marL="0" lvl="0" indent="0" algn="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900" kern="1200" dirty="0"/>
            <a:t>Osallisuuden edistäminen</a:t>
          </a:r>
          <a:br>
            <a:rPr lang="fi-FI" sz="900" kern="1200" dirty="0"/>
          </a:br>
          <a:r>
            <a:rPr lang="fi-FI" sz="900" kern="1200" dirty="0"/>
            <a:t>Yhteistyö järjestöjen ja vaikuttamistoimielimien kanssa</a:t>
          </a:r>
          <a:br>
            <a:rPr lang="fi-FI" sz="900" kern="1200" dirty="0"/>
          </a:br>
          <a:r>
            <a:rPr lang="fi-FI" sz="900" kern="1200" dirty="0"/>
            <a:t>Vuorovaikutteisuus ja asiakaslähtöisyys </a:t>
          </a:r>
        </a:p>
        <a:p>
          <a:pPr marL="0" lvl="0" indent="0" algn="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i-FI" sz="700" kern="1200" dirty="0"/>
        </a:p>
      </dsp:txBody>
      <dsp:txXfrm>
        <a:off x="6551851" y="4265182"/>
        <a:ext cx="1232506" cy="1100645"/>
      </dsp:txXfrm>
    </dsp:sp>
    <dsp:sp modelId="{6C464F9B-1628-42E3-B582-9F22ADC2A1D1}">
      <dsp:nvSpPr>
        <dsp:cNvPr id="0" name=""/>
        <dsp:cNvSpPr/>
      </dsp:nvSpPr>
      <dsp:spPr>
        <a:xfrm>
          <a:off x="8132839" y="3430431"/>
          <a:ext cx="1310240" cy="52503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7408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400" kern="1200" dirty="0"/>
            <a:t>Vaikuttamistoimielimet</a:t>
          </a:r>
        </a:p>
      </dsp:txBody>
      <dsp:txXfrm>
        <a:off x="8132839" y="3430431"/>
        <a:ext cx="1310240" cy="525032"/>
      </dsp:txXfrm>
    </dsp:sp>
    <dsp:sp modelId="{C1D68CE8-BFF0-4641-9EFD-9635DD82C560}">
      <dsp:nvSpPr>
        <dsp:cNvPr id="0" name=""/>
        <dsp:cNvSpPr/>
      </dsp:nvSpPr>
      <dsp:spPr>
        <a:xfrm>
          <a:off x="8099764" y="3853964"/>
          <a:ext cx="1474677" cy="1533755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6350" rIns="25400" bIns="6350" numCol="1" spcCol="1270" anchor="ctr" anchorCtr="0">
          <a:noAutofit/>
        </a:bodyPr>
        <a:lstStyle/>
        <a:p>
          <a:pPr marL="0" lvl="0" indent="0" algn="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000" kern="1200" dirty="0"/>
            <a:t>Nuorisoneuvosto</a:t>
          </a:r>
        </a:p>
        <a:p>
          <a:pPr marL="0" lvl="0" indent="0" algn="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000" kern="1200" dirty="0"/>
            <a:t>Vammaisneuvosto</a:t>
          </a:r>
        </a:p>
        <a:p>
          <a:pPr marL="0" lvl="0" indent="0" algn="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000" kern="1200" dirty="0"/>
            <a:t>Vanhusneuvosto</a:t>
          </a:r>
        </a:p>
        <a:p>
          <a:pPr marL="0" lvl="0" indent="0" algn="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000" kern="1200" dirty="0"/>
            <a:t>Monikulttuurisuusasiain neuvottelukunta</a:t>
          </a:r>
        </a:p>
      </dsp:txBody>
      <dsp:txXfrm>
        <a:off x="8099764" y="3853964"/>
        <a:ext cx="1474677" cy="1533755"/>
      </dsp:txXfrm>
    </dsp:sp>
    <dsp:sp modelId="{27EA4E38-0157-47AC-BA1F-3D21E3CDEDCE}">
      <dsp:nvSpPr>
        <dsp:cNvPr id="0" name=""/>
        <dsp:cNvSpPr/>
      </dsp:nvSpPr>
      <dsp:spPr>
        <a:xfrm>
          <a:off x="9951140" y="3349864"/>
          <a:ext cx="1319772" cy="568479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4088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200" kern="1200" dirty="0"/>
            <a:t>Tulevaisuusjaostot</a:t>
          </a:r>
        </a:p>
      </dsp:txBody>
      <dsp:txXfrm>
        <a:off x="9951140" y="3349864"/>
        <a:ext cx="1319772" cy="568479"/>
      </dsp:txXfrm>
    </dsp:sp>
    <dsp:sp modelId="{51341394-568D-4589-9786-3D0CECFAD2C1}">
      <dsp:nvSpPr>
        <dsp:cNvPr id="0" name=""/>
        <dsp:cNvSpPr/>
      </dsp:nvSpPr>
      <dsp:spPr>
        <a:xfrm>
          <a:off x="9991670" y="3780244"/>
          <a:ext cx="1295387" cy="138128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6350" rIns="25400" bIns="6350" numCol="1" spcCol="1270" anchor="ctr" anchorCtr="0">
          <a:noAutofit/>
        </a:bodyPr>
        <a:lstStyle/>
        <a:p>
          <a:pPr marL="0" lvl="0" indent="0" algn="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000" kern="1200" dirty="0"/>
            <a:t>Lasten, nuorten ja perheiden palvelut</a:t>
          </a:r>
        </a:p>
        <a:p>
          <a:pPr marL="0" lvl="0" indent="0" algn="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000" kern="1200" dirty="0"/>
            <a:t>Aikuissosiaalityö- ja vammaispalvelut</a:t>
          </a:r>
        </a:p>
        <a:p>
          <a:pPr marL="0" lvl="0" indent="0" algn="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000" kern="1200" dirty="0"/>
            <a:t>Terveydenhuollon palvelut</a:t>
          </a:r>
        </a:p>
        <a:p>
          <a:pPr marL="0" lvl="0" indent="0" algn="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000" kern="1200" dirty="0"/>
            <a:t>Vanhuspalvelut</a:t>
          </a:r>
        </a:p>
        <a:p>
          <a:pPr marL="0" lvl="0" indent="0" algn="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700" kern="1200" dirty="0"/>
            <a:t> </a:t>
          </a:r>
        </a:p>
      </dsp:txBody>
      <dsp:txXfrm>
        <a:off x="9991670" y="3780244"/>
        <a:ext cx="1295387" cy="1381289"/>
      </dsp:txXfrm>
    </dsp:sp>
    <dsp:sp modelId="{7E29A087-647C-4929-86E6-3802A316DA51}">
      <dsp:nvSpPr>
        <dsp:cNvPr id="0" name=""/>
        <dsp:cNvSpPr/>
      </dsp:nvSpPr>
      <dsp:spPr>
        <a:xfrm>
          <a:off x="6563303" y="2192137"/>
          <a:ext cx="1154106" cy="525032"/>
        </a:xfrm>
        <a:prstGeom prst="rect">
          <a:avLst/>
        </a:prstGeom>
        <a:solidFill>
          <a:srgbClr val="23ACEC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74088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100" kern="1200" dirty="0"/>
            <a:t>Tarkastuslautakunta</a:t>
          </a:r>
        </a:p>
      </dsp:txBody>
      <dsp:txXfrm>
        <a:off x="6563303" y="2192137"/>
        <a:ext cx="1154106" cy="525032"/>
      </dsp:txXfrm>
    </dsp:sp>
    <dsp:sp modelId="{C385E9DF-B7B3-4E15-BB05-48ED2DF67BF0}">
      <dsp:nvSpPr>
        <dsp:cNvPr id="0" name=""/>
        <dsp:cNvSpPr/>
      </dsp:nvSpPr>
      <dsp:spPr>
        <a:xfrm>
          <a:off x="6589450" y="2652617"/>
          <a:ext cx="1226126" cy="667567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5715" rIns="22860" bIns="5715" numCol="1" spcCol="1270" anchor="ctr" anchorCtr="0">
          <a:noAutofit/>
        </a:bodyPr>
        <a:lstStyle/>
        <a:p>
          <a:pPr marL="0" lvl="0" indent="0" algn="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900" kern="1200" dirty="0"/>
            <a:t>Tarkastaa ja seuraa hyvinvointialueen toimintaa ja sen strategia toteutumista </a:t>
          </a:r>
        </a:p>
      </dsp:txBody>
      <dsp:txXfrm>
        <a:off x="6589450" y="2652617"/>
        <a:ext cx="1226126" cy="667567"/>
      </dsp:txXfrm>
    </dsp:sp>
    <dsp:sp modelId="{F21CFC41-3FE9-40C1-A74E-65E07F044F6C}">
      <dsp:nvSpPr>
        <dsp:cNvPr id="0" name=""/>
        <dsp:cNvSpPr/>
      </dsp:nvSpPr>
      <dsp:spPr>
        <a:xfrm>
          <a:off x="8161485" y="2198291"/>
          <a:ext cx="1286126" cy="525032"/>
        </a:xfrm>
        <a:prstGeom prst="rect">
          <a:avLst/>
        </a:prstGeom>
        <a:solidFill>
          <a:schemeClr val="accent2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74088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000" kern="1200" dirty="0"/>
            <a:t>Aluevaalilautakunta</a:t>
          </a:r>
          <a:endParaRPr lang="fi-FI" sz="800" kern="1200" dirty="0"/>
        </a:p>
      </dsp:txBody>
      <dsp:txXfrm>
        <a:off x="8161485" y="2198291"/>
        <a:ext cx="1286126" cy="525032"/>
      </dsp:txXfrm>
    </dsp:sp>
    <dsp:sp modelId="{46472ACF-A3EE-4856-943A-4AD3A1701E52}">
      <dsp:nvSpPr>
        <dsp:cNvPr id="0" name=""/>
        <dsp:cNvSpPr/>
      </dsp:nvSpPr>
      <dsp:spPr>
        <a:xfrm>
          <a:off x="8260296" y="2638525"/>
          <a:ext cx="1346651" cy="382694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7940" tIns="6985" rIns="27940" bIns="6985" numCol="1" spcCol="1270" anchor="ctr" anchorCtr="0">
          <a:noAutofit/>
        </a:bodyPr>
        <a:lstStyle/>
        <a:p>
          <a:pPr marL="0" lvl="0" indent="0" algn="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100" kern="1200" dirty="0"/>
            <a:t>Päättää aluevaaleihin liittyvistä asioista</a:t>
          </a:r>
        </a:p>
      </dsp:txBody>
      <dsp:txXfrm>
        <a:off x="8260296" y="2638525"/>
        <a:ext cx="1346651" cy="382694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F217F3C-0B91-49A0-86D6-8C14481C8114}">
      <dsp:nvSpPr>
        <dsp:cNvPr id="0" name=""/>
        <dsp:cNvSpPr/>
      </dsp:nvSpPr>
      <dsp:spPr>
        <a:xfrm>
          <a:off x="840462" y="0"/>
          <a:ext cx="9525238" cy="4730750"/>
        </a:xfrm>
        <a:prstGeom prst="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B1A73D7-E238-44C6-B387-90884A3A94F1}">
      <dsp:nvSpPr>
        <dsp:cNvPr id="0" name=""/>
        <dsp:cNvSpPr/>
      </dsp:nvSpPr>
      <dsp:spPr>
        <a:xfrm>
          <a:off x="1188" y="1419225"/>
          <a:ext cx="3577555" cy="18923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600" kern="1200" dirty="0"/>
            <a:t>Lautakunnat ja jaostot </a:t>
          </a:r>
        </a:p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600" kern="1200" dirty="0"/>
            <a:t>Vaikuttamistoimielimet</a:t>
          </a:r>
        </a:p>
      </dsp:txBody>
      <dsp:txXfrm>
        <a:off x="93562" y="1511599"/>
        <a:ext cx="3392807" cy="1707552"/>
      </dsp:txXfrm>
    </dsp:sp>
    <dsp:sp modelId="{6D65E350-C7AC-4BF4-BC56-3D87DF693208}">
      <dsp:nvSpPr>
        <dsp:cNvPr id="0" name=""/>
        <dsp:cNvSpPr/>
      </dsp:nvSpPr>
      <dsp:spPr>
        <a:xfrm>
          <a:off x="3814303" y="1419225"/>
          <a:ext cx="3577555" cy="18923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600" kern="1200" dirty="0"/>
            <a:t>Aluehallitus</a:t>
          </a:r>
        </a:p>
      </dsp:txBody>
      <dsp:txXfrm>
        <a:off x="3906677" y="1511599"/>
        <a:ext cx="3392807" cy="1707552"/>
      </dsp:txXfrm>
    </dsp:sp>
    <dsp:sp modelId="{48529DAD-A707-4B33-959D-01D94C7F6C03}">
      <dsp:nvSpPr>
        <dsp:cNvPr id="0" name=""/>
        <dsp:cNvSpPr/>
      </dsp:nvSpPr>
      <dsp:spPr>
        <a:xfrm>
          <a:off x="7627418" y="1419225"/>
          <a:ext cx="3577555" cy="18923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600" kern="1200" dirty="0"/>
            <a:t>Aluevaltuusto</a:t>
          </a:r>
        </a:p>
      </dsp:txBody>
      <dsp:txXfrm>
        <a:off x="7719792" y="1511599"/>
        <a:ext cx="3392807" cy="170755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NameandTitleOrganizationalChart">
  <dgm:title val=""/>
  <dgm:desc val=""/>
  <dgm:catLst>
    <dgm:cat type="hierarchy" pri="125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Max/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h" fact="0.4"/>
              </dgm:constrLst>
              <dgm:ruleLst>
                <dgm:rule type="primFontSz" val="5" fact="NaN" max="NaN"/>
              </dgm:ruleLst>
            </dgm:layoutNode>
            <dgm:layoutNode name="titleText1" styleLbl="fgAcc0">
              <dgm:varLst>
                <dgm:chMax val="0"/>
                <dgm:chPref val="0"/>
              </dgm:varLst>
              <dgm:alg type="tx">
                <dgm:param type="parTxLTRAlign" val="r"/>
              </dgm:alg>
              <dgm:shape xmlns:r="http://schemas.openxmlformats.org/officeDocument/2006/relationships" type="rect" r:blip="">
                <dgm:adjLst/>
              </dgm:shape>
              <dgm:presOf axis="followSib" ptType="sibTrans" hideLastTrans="0" cnt="1"/>
              <dgm:constrLst>
                <dgm:constr type="primFontSz" val="65"/>
                <dgm:constr type="lMarg" refType="primFontSz" fact="0.2"/>
                <dgm:constr type="rMarg" refType="primFontSz" fact="0.2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1" func="var" arg="hierBranch" op="equ" val="hang">
                    <dgm:layoutNode name="Name42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3">
                    <dgm:layoutNode name="Name44">
                      <dgm:choose name="Name45">
                        <dgm:if name="Name46" axis="self" func="depth" op="lte" val="2">
                          <dgm:choose name="Name47">
                            <dgm:if name="Name4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4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0">
                          <dgm:choose name="Name51">
                            <dgm:if name="Name52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3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54">
                  <dgm:if name="Name55" func="var" arg="hierBranch" op="equ" val="l">
                    <dgm:choose name="Name56">
                      <dgm:if name="Name57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58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59" func="var" arg="hierBranch" op="equ" val="r">
                    <dgm:choose name="Name60">
                      <dgm:if name="Name61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2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3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64" func="var" arg="hierBranch" op="equ" val="init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else name="Name65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66">
                    <dgm:if name="Name67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68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69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70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 styleLbl="node1">
                    <dgm:varLst>
                      <dgm:chMax/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h" fact="0.4"/>
                    </dgm:constrLst>
                    <dgm:ruleLst>
                      <dgm:rule type="primFontSz" val="5" fact="NaN" max="NaN"/>
                    </dgm:ruleLst>
                  </dgm:layoutNode>
                  <dgm:layoutNode name="titleText2" styleLbl="fgAcc1">
                    <dgm:varLst>
                      <dgm:chMax val="0"/>
                      <dgm:chPref val="0"/>
                    </dgm:varLst>
                    <dgm:alg type="tx">
                      <dgm:param type="parTxLTRAlign" val="r"/>
                    </dgm:alg>
                    <dgm:shape xmlns:r="http://schemas.openxmlformats.org/officeDocument/2006/relationships" type="rect" r:blip="">
                      <dgm:adjLst/>
                    </dgm:shape>
                    <dgm:presOf axis="followSib" ptType="sibTrans" hideLastTrans="0" cnt="1"/>
                    <dgm:constrLst>
                      <dgm:constr type="primFontSz" val="65"/>
                      <dgm:constr type="lMarg" refType="primFontSz" fact="0.2"/>
                      <dgm:constr type="rMarg" refType="primFontSz" fact="0.2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71">
                    <dgm:if name="Name72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73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74" func="var" arg="hierBranch" op="equ" val="hang">
                      <dgm:choose name="Name75">
                        <dgm:if name="Name76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77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78" func="var" arg="hierBranch" op="equ" val="std">
                      <dgm:choose name="Name79">
                        <dgm:if name="Name80" func="var" arg="dir" op="equ" val="norm">
                          <dgm:alg type="hierChild"/>
                        </dgm:if>
                        <dgm:else name="Name81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82" func="var" arg="hierBranch" op="equ" val="init">
                      <dgm:choose name="Name83">
                        <dgm:if name="Name84" func="var" arg="dir" op="equ" val="norm">
                          <dgm:alg type="hierChild"/>
                        </dgm:if>
                        <dgm:else name="Name85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else name="Name86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87" ref="rep2a"/>
                </dgm:layoutNode>
                <dgm:layoutNode name="hierChild5">
                  <dgm:choose name="Name88">
                    <dgm:if name="Name89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90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91" ref="rep2b"/>
                </dgm:layoutNode>
              </dgm:layoutNode>
            </dgm:forEach>
          </dgm:layoutNode>
          <dgm:layoutNode name="hierChild3">
            <dgm:choose name="Name92">
              <dgm:if name="Name93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94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95" axis="precedSib" ptType="parTrans" st="-1" cnt="1">
                <dgm:layoutNode name="Name96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97">
                  <dgm:if name="Name98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99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0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1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02" func="var" arg="hierBranch" op="equ" val="init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else name="Name103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04">
                    <dgm:if name="Name105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06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07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08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 styleLbl="asst1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h" fact="0.4"/>
                    </dgm:constrLst>
                    <dgm:ruleLst>
                      <dgm:rule type="primFontSz" val="5" fact="NaN" max="NaN"/>
                    </dgm:ruleLst>
                  </dgm:layoutNode>
                  <dgm:layoutNode name="titleText3" styleLbl="fgAcc2">
                    <dgm:varLst>
                      <dgm:chMax val="0"/>
                      <dgm:chPref val="0"/>
                    </dgm:varLst>
                    <dgm:alg type="tx">
                      <dgm:param type="parTxLTRAlign" val="r"/>
                    </dgm:alg>
                    <dgm:shape xmlns:r="http://schemas.openxmlformats.org/officeDocument/2006/relationships" type="rect" r:blip="">
                      <dgm:adjLst/>
                    </dgm:shape>
                    <dgm:presOf axis="followSib" ptType="sibTrans" hideLastTrans="0" cnt="1"/>
                    <dgm:constrLst>
                      <dgm:constr type="primFontSz" val="65"/>
                      <dgm:constr type="lMarg" refType="primFontSz" fact="0.2"/>
                      <dgm:constr type="rMarg" refType="primFontSz" fact="0.2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09">
                    <dgm:if name="Name110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11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12" func="var" arg="hierBranch" op="equ" val="hang">
                      <dgm:choose name="Name113">
                        <dgm:if name="Name114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15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16" func="var" arg="hierBranch" op="equ" val="std">
                      <dgm:choose name="Name117">
                        <dgm:if name="Name118" func="var" arg="dir" op="equ" val="norm">
                          <dgm:alg type="hierChild"/>
                        </dgm:if>
                        <dgm:else name="Name119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20" func="var" arg="hierBranch" op="equ" val="init">
                      <dgm:alg type="hierChild"/>
                    </dgm:if>
                    <dgm:else name="Name12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22" ref="rep2a"/>
                </dgm:layoutNode>
                <dgm:layoutNode name="hierChild7">
                  <dgm:choose name="Name123">
                    <dgm:if name="Name12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2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26" ref="rep2b"/>
                </dgm:layoutNode>
              </dgm:layoutNode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09A1D90-2062-4389-87F9-585146E5564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D601021-3A79-4440-B80F-9C75F8D83DC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09853A-5794-4DA2-A4AB-D0B3309F55E3}" type="datetimeFigureOut">
              <a:rPr lang="en-US" smtClean="0"/>
              <a:t>3/23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5DF46FD-EC29-4A71-8B66-F048A9CE3BA5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8070E1-5855-4CA1-AA81-014DBD8F1EB0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E6BC9D7-328C-4D91-947D-35E3F9B8E50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391284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8B596AC-646C-44FC-954B-4161BE572F04}" type="datetimeFigureOut">
              <a:rPr lang="fi-FI" smtClean="0"/>
              <a:t>23.3.2022</a:t>
            </a:fld>
            <a:endParaRPr lang="fi-FI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i-FI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FD728D0-16EF-4BE3-B2E3-7BACDBE8671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5149488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4.png"/><Relationship Id="rId4" Type="http://schemas.openxmlformats.org/officeDocument/2006/relationships/image" Target="../media/image6.png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4.png"/><Relationship Id="rId4" Type="http://schemas.openxmlformats.org/officeDocument/2006/relationships/image" Target="../media/image6.png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4.png"/><Relationship Id="rId4" Type="http://schemas.openxmlformats.org/officeDocument/2006/relationships/image" Target="../media/image6.png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4.png"/><Relationship Id="rId4" Type="http://schemas.openxmlformats.org/officeDocument/2006/relationships/image" Target="../media/image6.png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4.png"/><Relationship Id="rId4" Type="http://schemas.openxmlformats.org/officeDocument/2006/relationships/image" Target="../media/image6.png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4.png"/><Relationship Id="rId4" Type="http://schemas.openxmlformats.org/officeDocument/2006/relationships/image" Target="../media/image6.png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4.png"/><Relationship Id="rId4" Type="http://schemas.openxmlformats.org/officeDocument/2006/relationships/image" Target="../media/image6.png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oitusruutu_valko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C8FAA00-08CB-4D42-BC42-5FD10B8E1D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D43059-99C1-4944-9656-B1D921B30889}" type="datetime1">
              <a:rPr lang="fi-FI" smtClean="0"/>
              <a:t>23.3.2022</a:t>
            </a:fld>
            <a:endParaRPr lang="fi-F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1B36D59-2219-4745-8866-3C10FB77AB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‹#›</a:t>
            </a:fld>
            <a:endParaRPr lang="fi-FI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F5469C93-8108-497E-AE09-69B91A1ABF4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116" y="2000187"/>
            <a:ext cx="7407164" cy="2387600"/>
          </a:xfrm>
        </p:spPr>
        <p:txBody>
          <a:bodyPr anchor="b"/>
          <a:lstStyle>
            <a:lvl1pPr algn="l"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EEFA9397-4EC2-428C-8028-EC8F9418B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8116" y="4562158"/>
            <a:ext cx="7407164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pic>
        <p:nvPicPr>
          <p:cNvPr id="13" name="Picture 12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7042E8DA-BDAD-400E-B10D-5DDB2028D58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0902" y="2000187"/>
            <a:ext cx="3645475" cy="3089974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E5960C26-0006-4CDB-BFA6-EED7F960FBB8}"/>
              </a:ext>
            </a:extLst>
          </p:cNvPr>
          <p:cNvSpPr/>
          <p:nvPr userDrawn="1"/>
        </p:nvSpPr>
        <p:spPr>
          <a:xfrm>
            <a:off x="9983495" y="0"/>
            <a:ext cx="2208505" cy="161544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A7633F30-81AA-4E31-B02C-5D35D292036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0902" y="2000060"/>
            <a:ext cx="3645475" cy="3089974"/>
          </a:xfrm>
          <a:prstGeom prst="rect">
            <a:avLst/>
          </a:prstGeom>
        </p:spPr>
      </p:pic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60B4022C-4631-4B82-ABDB-2F2B7E3881C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algn="ctr"/>
            <a:r>
              <a:rPr lang="fi-FI"/>
              <a:t>Alatunniste</a:t>
            </a:r>
          </a:p>
        </p:txBody>
      </p:sp>
    </p:spTree>
    <p:extLst>
      <p:ext uri="{BB962C8B-B14F-4D97-AF65-F5344CB8AC3E}">
        <p14:creationId xmlns:p14="http://schemas.microsoft.com/office/powerpoint/2010/main" val="2580678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Aloitusruutu_vaalea_fuksia_kuv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0976162-363D-4121-9E86-0E9C8710F1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1B535A-2832-40CC-8AEF-35E74D099E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116" y="2000187"/>
            <a:ext cx="7407164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915B170-1F73-4995-907A-3CE28F8F76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8116" y="4562158"/>
            <a:ext cx="7407164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pic>
        <p:nvPicPr>
          <p:cNvPr id="6" name="Picture 5" descr="A picture containing text, blackboard&#10;&#10;Description automatically generated">
            <a:extLst>
              <a:ext uri="{FF2B5EF4-FFF2-40B4-BE49-F238E27FC236}">
                <a16:creationId xmlns:a16="http://schemas.microsoft.com/office/drawing/2014/main" id="{14FCAC9C-93C3-4BF3-AA69-FB92EE27B6D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2876" y="1691640"/>
            <a:ext cx="3649916" cy="3474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7120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oli_sivua_kuva_vaalea_fuk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D6E9C94-F91C-4351-80A3-EF626BB6D9F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5C731633-EDC4-4E10-A99C-BCF4E3D47F0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7288306" y="0"/>
            <a:ext cx="4903694" cy="6858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74383859-0CAC-4E51-BE74-57E16ABFBCD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160494"/>
            <a:ext cx="6036141" cy="3708494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 sz="1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2pPr>
            <a:lvl3pPr marL="914400" indent="0">
              <a:buNone/>
              <a:defRPr sz="12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8A68DA7D-4465-4F6E-8E5C-4866B5E828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987425"/>
            <a:ext cx="6036141" cy="965199"/>
          </a:xfrm>
        </p:spPr>
        <p:txBody>
          <a:bodyPr anchor="b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pic>
        <p:nvPicPr>
          <p:cNvPr id="17" name="Picture 16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97076935-D697-414D-AD85-CDF94E89038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3C36CB3-C464-4EE8-A100-EA1F3F701A5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06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oli_sivua_kuva_tumman_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44D596EB-6C87-4E77-A282-E8F4AC510AA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79554269-A758-425E-A7A9-3297720BD12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7288306" y="0"/>
            <a:ext cx="4903694" cy="6858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2DA1327E-385A-450D-B8CB-02C8C36636A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160494"/>
            <a:ext cx="6036141" cy="3708494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 sz="1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2pPr>
            <a:lvl3pPr marL="914400" indent="0">
              <a:buNone/>
              <a:defRPr sz="12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04CD8A6-3E7E-41DC-8B95-CADBC6BE8E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987425"/>
            <a:ext cx="6036141" cy="965199"/>
          </a:xfrm>
        </p:spPr>
        <p:txBody>
          <a:bodyPr anchor="b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pic>
        <p:nvPicPr>
          <p:cNvPr id="19" name="Picture 18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969AA01B-7F14-434E-9FCE-1A5429402C1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A42D9FD-2B12-421C-90EC-2996F4D4957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030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oli_sivua_kuva_vaalean_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E3197DA-176C-4FE5-917B-D17DC70B754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A7A8F4DB-F8D7-4D33-9C7B-C531A059907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7288306" y="0"/>
            <a:ext cx="4903694" cy="6858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30538F70-F123-419A-9310-66299939375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160494"/>
            <a:ext cx="6036141" cy="3708494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 sz="1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2pPr>
            <a:lvl3pPr marL="914400" indent="0">
              <a:buNone/>
              <a:defRPr sz="12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A0D085CB-FF03-477D-99B3-E2B4ACDB91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987425"/>
            <a:ext cx="6036141" cy="965199"/>
          </a:xfrm>
        </p:spPr>
        <p:txBody>
          <a:bodyPr anchor="b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pic>
        <p:nvPicPr>
          <p:cNvPr id="17" name="Picture 16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32B46A89-505B-4C00-9603-774EE16B94E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0C9463F-722D-4A14-A275-2C0DE27D3CD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6515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oli_sivua_kuva_tumman_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 descr="Deciduous tree">
            <a:extLst>
              <a:ext uri="{FF2B5EF4-FFF2-40B4-BE49-F238E27FC236}">
                <a16:creationId xmlns:a16="http://schemas.microsoft.com/office/drawing/2014/main" id="{A93C0E96-BAF3-4CE6-893E-BBBF4EBBF80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585642" y="2665254"/>
            <a:ext cx="4720908" cy="4720908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70E12F5B-6168-40D0-A95F-7BDBB48756D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9CACB86E-ED50-48E8-88C1-FFE2056D2CE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7288306" y="0"/>
            <a:ext cx="4903694" cy="6858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120CEAFD-8292-45D3-B6A0-B7E44502677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160494"/>
            <a:ext cx="6036141" cy="3708494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 sz="1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2pPr>
            <a:lvl3pPr marL="914400" indent="0">
              <a:buNone/>
              <a:defRPr sz="12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F2DDBF5D-668F-4A0C-B7A0-CADB0FE881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987425"/>
            <a:ext cx="6036141" cy="965199"/>
          </a:xfrm>
        </p:spPr>
        <p:txBody>
          <a:bodyPr anchor="b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pic>
        <p:nvPicPr>
          <p:cNvPr id="19" name="Picture 18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8F3EC7DD-D9F8-4C93-8A6B-1B071ABDC33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7BA4C3A-646D-4F4B-9ECB-183D2126A02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86152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oli_sivua_kuva_vaalean_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C4A104B-18AA-4D32-99D1-997AD724506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75F519A0-39B0-4EC5-A2A2-3EA77121432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7288306" y="0"/>
            <a:ext cx="4903694" cy="6858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D42A1AF-7F9C-4CF2-BBFC-B82C6AD759B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160494"/>
            <a:ext cx="6036141" cy="3708494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 sz="1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2pPr>
            <a:lvl3pPr marL="914400" indent="0">
              <a:buNone/>
              <a:defRPr sz="12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5E104650-C3CA-4705-9048-D79637A331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987425"/>
            <a:ext cx="6036141" cy="965199"/>
          </a:xfrm>
        </p:spPr>
        <p:txBody>
          <a:bodyPr anchor="b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pic>
        <p:nvPicPr>
          <p:cNvPr id="17" name="Picture 16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8A0A90A8-9FE0-4C37-82BD-085ACB37DFB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40EE8DD-F6DC-42C1-837C-34C80E11601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6481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Vaa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C746F1-38DD-4FD1-8721-CA848852FC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B6F0F28-7AEF-4281-9330-AB1ACB57916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6830CEB-310C-4C23-BD33-AD1ABF5D42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96E634-4747-4C18-9630-96A196DBF87F}" type="datetime1">
              <a:rPr lang="fi-FI" smtClean="0"/>
              <a:t>23.3.2022</a:t>
            </a:fld>
            <a:endParaRPr lang="fi-F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8DFE85-AC06-48FB-92D6-25F3F0EA7D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‹#›</a:t>
            </a:fld>
            <a:endParaRPr lang="fi-FI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3C718087-0904-42CB-BF7F-BF506ABCAA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algn="ctr"/>
            <a:r>
              <a:rPr lang="fi-FI"/>
              <a:t>Alatunniste</a:t>
            </a:r>
          </a:p>
        </p:txBody>
      </p:sp>
    </p:spTree>
    <p:extLst>
      <p:ext uri="{BB962C8B-B14F-4D97-AF65-F5344CB8AC3E}">
        <p14:creationId xmlns:p14="http://schemas.microsoft.com/office/powerpoint/2010/main" val="23579142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aaka_ja_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C0FA221-AA95-4298-AD12-8A88E18CD9B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1033271"/>
            <a:ext cx="2628900" cy="5143691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49273D4-E8DF-45BF-9698-44476027888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1033271"/>
            <a:ext cx="7734300" cy="5143692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E20074-A776-4019-A129-04037FC893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DEE36B-1FB8-4D59-A82C-0E27C43A5F1F}" type="datetime1">
              <a:rPr lang="fi-FI" smtClean="0"/>
              <a:t>23.3.2022</a:t>
            </a:fld>
            <a:endParaRPr lang="fi-F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6F14635-FF9B-4224-842E-C960380FAF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‹#›</a:t>
            </a:fld>
            <a:endParaRPr lang="fi-FI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3FF30BED-DFC0-40F3-8884-6966E14F2B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algn="ctr"/>
            <a:r>
              <a:rPr lang="fi-FI"/>
              <a:t>Alatunniste</a:t>
            </a:r>
          </a:p>
        </p:txBody>
      </p:sp>
    </p:spTree>
    <p:extLst>
      <p:ext uri="{BB962C8B-B14F-4D97-AF65-F5344CB8AC3E}">
        <p14:creationId xmlns:p14="http://schemas.microsoft.com/office/powerpoint/2010/main" val="2701600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Aloitusruutu_tumman_vihreä_kuv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0976162-363D-4121-9E86-0E9C8710F1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1B535A-2832-40CC-8AEF-35E74D099E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116" y="2000187"/>
            <a:ext cx="7407164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915B170-1F73-4995-907A-3CE28F8F76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8116" y="4562158"/>
            <a:ext cx="7407164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pic>
        <p:nvPicPr>
          <p:cNvPr id="6" name="Picture 5" descr="A picture containing text, blackboard&#10;&#10;Description automatically generated">
            <a:extLst>
              <a:ext uri="{FF2B5EF4-FFF2-40B4-BE49-F238E27FC236}">
                <a16:creationId xmlns:a16="http://schemas.microsoft.com/office/drawing/2014/main" id="{81566161-9E2C-4A0C-B626-D0B4BE1F3E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2876" y="1691640"/>
            <a:ext cx="3649916" cy="3474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6310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Aloitusruutu_vaalean_vihreä_kuv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0976162-363D-4121-9E86-0E9C8710F1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1B535A-2832-40CC-8AEF-35E74D099E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116" y="2000187"/>
            <a:ext cx="7407164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915B170-1F73-4995-907A-3CE28F8F76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8116" y="4562158"/>
            <a:ext cx="7407164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pic>
        <p:nvPicPr>
          <p:cNvPr id="6" name="Picture 5" descr="A picture containing text, blackboard&#10;&#10;Description automatically generated">
            <a:extLst>
              <a:ext uri="{FF2B5EF4-FFF2-40B4-BE49-F238E27FC236}">
                <a16:creationId xmlns:a16="http://schemas.microsoft.com/office/drawing/2014/main" id="{32E69FE4-0D14-42F3-8ED8-B83ACA2DCA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2876" y="1691640"/>
            <a:ext cx="3649916" cy="3474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7554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Aloitusruutu_tumman_sininen_kuv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0976162-363D-4121-9E86-0E9C8710F1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1B535A-2832-40CC-8AEF-35E74D099E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116" y="2000187"/>
            <a:ext cx="7407164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915B170-1F73-4995-907A-3CE28F8F76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8116" y="4562158"/>
            <a:ext cx="7407164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pic>
        <p:nvPicPr>
          <p:cNvPr id="6" name="Picture 5" descr="A picture containing text, blackboard&#10;&#10;Description automatically generated">
            <a:extLst>
              <a:ext uri="{FF2B5EF4-FFF2-40B4-BE49-F238E27FC236}">
                <a16:creationId xmlns:a16="http://schemas.microsoft.com/office/drawing/2014/main" id="{3339BBCE-72EB-4416-82B5-95E4D23ADFA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2876" y="1691640"/>
            <a:ext cx="3649916" cy="3474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5329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Aloitusruutu_vaalean_sininen_kuv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0976162-363D-4121-9E86-0E9C8710F1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1B535A-2832-40CC-8AEF-35E74D099E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116" y="2000187"/>
            <a:ext cx="7407164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915B170-1F73-4995-907A-3CE28F8F76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8116" y="4562158"/>
            <a:ext cx="7407164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pic>
        <p:nvPicPr>
          <p:cNvPr id="6" name="Picture 5" descr="A picture containing text, blackboard&#10;&#10;Description automatically generated">
            <a:extLst>
              <a:ext uri="{FF2B5EF4-FFF2-40B4-BE49-F238E27FC236}">
                <a16:creationId xmlns:a16="http://schemas.microsoft.com/office/drawing/2014/main" id="{D8FE91E8-160A-4795-8140-A27E909079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2876" y="1691640"/>
            <a:ext cx="3649916" cy="3474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3912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_ranskalaiset_viiv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21133D-692A-4488-9BA5-BB01BBC4CA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405DE7-9A18-4FFD-BB85-379C5A20C66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024539" y="6257749"/>
            <a:ext cx="945718" cy="365125"/>
          </a:xfrm>
        </p:spPr>
        <p:txBody>
          <a:bodyPr/>
          <a:lstStyle/>
          <a:p>
            <a:fld id="{CCE76DBD-9ABD-401A-ACC4-8E3C979D470F}" type="datetime1">
              <a:rPr lang="fi-FI" smtClean="0"/>
              <a:t>23.3.2022</a:t>
            </a:fld>
            <a:endParaRPr lang="fi-F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A863EE8-A52B-409A-9FBC-73FBB2C250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‹#›</a:t>
            </a:fld>
            <a:endParaRPr lang="fi-FI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36539525-7551-48F7-8D8F-A020ECBC39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3669" y="1299308"/>
            <a:ext cx="11205372" cy="47293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B766A24-A8D9-4DFA-BA8B-3E0D6E55AD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algn="ctr"/>
            <a:r>
              <a:rPr lang="fi-FI"/>
              <a:t>Alatunniste</a:t>
            </a:r>
          </a:p>
        </p:txBody>
      </p:sp>
    </p:spTree>
    <p:extLst>
      <p:ext uri="{BB962C8B-B14F-4D97-AF65-F5344CB8AC3E}">
        <p14:creationId xmlns:p14="http://schemas.microsoft.com/office/powerpoint/2010/main" val="2162210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_ranskalaiset_viivat_iso_kontra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35B1E6AE-7991-4811-B577-296CC00A000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721133D-692A-4488-9BA5-BB01BBC4CA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1D9F2CD-E67A-48D8-85FB-E255AB0F441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>
              <a:defRPr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2pPr>
            <a:lvl3pPr>
              <a:defRPr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3pPr>
            <a:lvl4pPr>
              <a:defRPr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4pPr>
            <a:lvl5pPr>
              <a:defRPr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405DE7-9A18-4FFD-BB85-379C5A20C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fld id="{8EA296CD-E0BD-4577-BBD9-E7A21CDFDC56}" type="datetime1">
              <a:rPr lang="fi-FI" smtClean="0"/>
              <a:t>23.3.2022</a:t>
            </a:fld>
            <a:endParaRPr lang="fi-F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A863EE8-A52B-409A-9FBC-73FBB2C250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fld id="{D5C7B8F6-2765-465B-BF52-D1DF320C1AE3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ED7AE67-BFE6-4581-BDEA-4D59AC1661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258186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fi-FI"/>
              <a:t>Alatunniste</a:t>
            </a:r>
          </a:p>
        </p:txBody>
      </p:sp>
      <p:pic>
        <p:nvPicPr>
          <p:cNvPr id="9" name="Picture 8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3143DAC5-3469-4AA9-93A1-540B07AA9A9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0411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_perus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CF713E9-B21F-4277-80A4-C06234167A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46CF40-C63D-4563-8757-6DC4E6BF2D21}" type="datetime1">
              <a:rPr lang="fi-FI" smtClean="0"/>
              <a:t>23.3.2022</a:t>
            </a:fld>
            <a:endParaRPr lang="fi-FI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955944B-F0B9-4271-96BA-E6828C38A7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6FA8EAF9-11C2-4317-B287-93C13C5473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668" y="487242"/>
            <a:ext cx="9569557" cy="61318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F52C2CD-20CF-4F2D-8C05-1ADF71215B4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3669" y="1299308"/>
            <a:ext cx="11205372" cy="47293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07BE2601-7626-456C-A31B-5113E25B12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algn="ctr"/>
            <a:r>
              <a:rPr lang="fi-FI"/>
              <a:t>Alatunniste</a:t>
            </a:r>
          </a:p>
        </p:txBody>
      </p:sp>
    </p:spTree>
    <p:extLst>
      <p:ext uri="{BB962C8B-B14F-4D97-AF65-F5344CB8AC3E}">
        <p14:creationId xmlns:p14="http://schemas.microsoft.com/office/powerpoint/2010/main" val="11865460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_perusteksti__iso_kontra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2D2F3555-CD9C-4A92-8B27-541D98696F7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9BE8E40-DB24-4417-9B9F-DD455E75BE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668" y="487242"/>
            <a:ext cx="9569557" cy="61318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02909738-C33F-4A34-AAC5-D8CC68D572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3669" y="1299308"/>
            <a:ext cx="11205372" cy="4729357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2pPr>
            <a:lvl3pPr marL="914400" indent="0">
              <a:buNone/>
              <a:defRPr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3pPr>
            <a:lvl4pPr marL="1371600" indent="0">
              <a:buNone/>
              <a:defRPr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4pPr>
            <a:lvl5pPr marL="1828800" indent="0">
              <a:buNone/>
              <a:defRPr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CDF18EE7-9383-4F29-9633-1E17FABF92A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83495" y="6257748"/>
            <a:ext cx="1074804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fld id="{8EA296CD-E0BD-4577-BBD9-E7A21CDFDC56}" type="datetime1">
              <a:rPr lang="fi-FI" smtClean="0"/>
              <a:t>23.3.2022</a:t>
            </a:fld>
            <a:endParaRPr lang="fi-FI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0D6F42B-ECEF-4E0B-8919-35D7F94213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75568" y="6257749"/>
            <a:ext cx="603473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fld id="{D5C7B8F6-2765-465B-BF52-D1DF320C1AE3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C50BF15F-1467-4D60-A574-00A4D51451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258186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fi-FI"/>
              <a:t>Alatunniste</a:t>
            </a:r>
          </a:p>
        </p:txBody>
      </p:sp>
      <p:pic>
        <p:nvPicPr>
          <p:cNvPr id="15" name="Picture 14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D361B35F-DECC-405A-82A1-D429BC581D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3072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_palstaa_ranskalaiset-viiv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A6D75F-9311-4EB4-B38D-B4E0EE179A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8F0DA0-946D-445D-ADA1-18880E3EC9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FE38DE-4805-4D44-9515-01E7263DA904}" type="datetime1">
              <a:rPr lang="fi-FI" smtClean="0"/>
              <a:t>23.3.2022</a:t>
            </a:fld>
            <a:endParaRPr lang="fi-FI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506BF10-D4FF-4D46-9E24-ADC7CD834E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‹#›</a:t>
            </a:fld>
            <a:endParaRPr lang="fi-FI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A6BCEC4-81A3-42F5-B62D-4067B34C561A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73667" y="1299308"/>
            <a:ext cx="5475251" cy="472935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F9AF520A-DFB6-46AA-A90E-73856CB6FBB9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03790" y="1299307"/>
            <a:ext cx="5475251" cy="472935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B8DAE261-03D8-472D-B14F-C1DF423A713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algn="ctr"/>
            <a:r>
              <a:rPr lang="fi-FI"/>
              <a:t>Alatunniste</a:t>
            </a:r>
          </a:p>
        </p:txBody>
      </p:sp>
    </p:spTree>
    <p:extLst>
      <p:ext uri="{BB962C8B-B14F-4D97-AF65-F5344CB8AC3E}">
        <p14:creationId xmlns:p14="http://schemas.microsoft.com/office/powerpoint/2010/main" val="4078357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Aloitusruutu_Tumma_fuk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0976162-363D-4121-9E86-0E9C8710F1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1B535A-2832-40CC-8AEF-35E74D099E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116" y="2000187"/>
            <a:ext cx="7407164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915B170-1F73-4995-907A-3CE28F8F76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8116" y="4562158"/>
            <a:ext cx="7407164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pic>
        <p:nvPicPr>
          <p:cNvPr id="5" name="Picture 4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822A6C1A-8158-4EA3-ACD3-C75B761DA4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0902" y="2000187"/>
            <a:ext cx="3645475" cy="308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9134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_palstaa_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A6D75F-9311-4EB4-B38D-B4E0EE179A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8F0DA0-946D-445D-ADA1-18880E3EC9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94D4C2-B25A-4281-8A5B-F03DB99CFAB5}" type="datetime1">
              <a:rPr lang="fi-FI" smtClean="0"/>
              <a:t>23.3.2022</a:t>
            </a:fld>
            <a:endParaRPr lang="fi-FI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506BF10-D4FF-4D46-9E24-ADC7CD834E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‹#›</a:t>
            </a:fld>
            <a:endParaRPr lang="fi-FI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62A0A1FC-CD35-4C4A-8830-0BF62F39662B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73667" y="1299308"/>
            <a:ext cx="5475251" cy="4729356"/>
          </a:xfrm>
        </p:spPr>
        <p:txBody>
          <a:bodyPr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40265E24-119F-4E75-B1BC-37B74F31F789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03790" y="1299307"/>
            <a:ext cx="5475251" cy="4729355"/>
          </a:xfrm>
        </p:spPr>
        <p:txBody>
          <a:bodyPr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52242108-567E-4E86-8B9F-64DA7D5726F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algn="ctr"/>
            <a:r>
              <a:rPr lang="fi-FI"/>
              <a:t>Alatunniste</a:t>
            </a:r>
          </a:p>
        </p:txBody>
      </p:sp>
    </p:spTree>
    <p:extLst>
      <p:ext uri="{BB962C8B-B14F-4D97-AF65-F5344CB8AC3E}">
        <p14:creationId xmlns:p14="http://schemas.microsoft.com/office/powerpoint/2010/main" val="2441116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liotsikko_valko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2BFC5D1-A434-41C0-A0AC-FA8C98998B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0B1729-6068-4313-B10B-F87937706A72}" type="datetime1">
              <a:rPr lang="fi-FI" smtClean="0"/>
              <a:t>23.3.2022</a:t>
            </a:fld>
            <a:endParaRPr lang="fi-F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32A87B9-8B1F-4CE1-B8BD-8B96315517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A1378340-C080-47C5-983F-3EEBF0D75E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2504504"/>
            <a:ext cx="10515600" cy="1500187"/>
          </a:xfrm>
        </p:spPr>
        <p:txBody>
          <a:bodyPr anchor="b">
            <a:normAutofit/>
          </a:bodyPr>
          <a:lstStyle>
            <a:lvl1pPr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E074EB3E-6D1F-4DA0-B8DD-662308A06C3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196271"/>
            <a:ext cx="10515600" cy="1500187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tx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E1F1CEFC-91A9-4473-A413-6D4A96A9FA7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algn="ctr"/>
            <a:r>
              <a:rPr lang="fi-FI"/>
              <a:t>Alatunniste</a:t>
            </a:r>
          </a:p>
        </p:txBody>
      </p:sp>
    </p:spTree>
    <p:extLst>
      <p:ext uri="{BB962C8B-B14F-4D97-AF65-F5344CB8AC3E}">
        <p14:creationId xmlns:p14="http://schemas.microsoft.com/office/powerpoint/2010/main" val="2703628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Valiotsikko_tumma_fuk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75B7F77-A7E2-4A93-AF37-79AB6652175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CB7582F-B7A6-4B6B-AF59-21885C1D6E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2504504"/>
            <a:ext cx="10515600" cy="1500187"/>
          </a:xfrm>
        </p:spPr>
        <p:txBody>
          <a:bodyPr anchor="b">
            <a:normAutofit/>
          </a:bodyPr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819DD4A-F530-4694-A831-4C3DFA62E2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196271"/>
            <a:ext cx="10515600" cy="1500187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0" name="Picture 9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33F4A4EE-00AB-4282-8B80-FFBD6A5975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2241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liotsikko_vaalea_fuk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DCDCB01C-A9CF-445C-9A1A-5DF3BC0618D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9D7BD377-A4BF-474C-8BF1-1CBA4AFD4B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2504504"/>
            <a:ext cx="10515600" cy="1500187"/>
          </a:xfrm>
        </p:spPr>
        <p:txBody>
          <a:bodyPr anchor="b">
            <a:normAutofit/>
          </a:bodyPr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E7CFCA1B-A982-4A80-B70C-437B77980F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196271"/>
            <a:ext cx="10515600" cy="1500187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7" name="Picture 6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BAD7213B-62A6-4498-8992-D0679296D30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6890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liotsikko_tumman_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FF15C473-637B-4F74-89B6-7827FF48489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A4837C24-9D16-44F1-9A88-B5B4D64290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2504504"/>
            <a:ext cx="10515600" cy="1500187"/>
          </a:xfrm>
        </p:spPr>
        <p:txBody>
          <a:bodyPr anchor="b">
            <a:normAutofit/>
          </a:bodyPr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A09BF18D-EBB2-47F4-A616-B0540DA6F8B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196271"/>
            <a:ext cx="10515600" cy="1500187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0" name="Picture 9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2050A66B-6ABF-42AA-92F8-DD58BCB477A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0930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liotsikko_vaalean_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0D0DAA0E-1818-42FF-BB6C-93FD419E171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433585F5-0AE9-47A4-B6C9-1F5AA8AF39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2504504"/>
            <a:ext cx="10515600" cy="1500187"/>
          </a:xfrm>
        </p:spPr>
        <p:txBody>
          <a:bodyPr anchor="b">
            <a:normAutofit/>
          </a:bodyPr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1E078013-D062-4B74-BDD1-A7B1B92076E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196271"/>
            <a:ext cx="10515600" cy="1500187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8" name="Picture 7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4AA073B5-0C86-430C-876B-7CC72F534E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2324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liotsikko_tumman_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019E351-BD38-4277-ACBC-BAB6F0B4ED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9AEBCB3B-E258-4D1D-BC07-970AA3335D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2504504"/>
            <a:ext cx="10515600" cy="1500187"/>
          </a:xfrm>
        </p:spPr>
        <p:txBody>
          <a:bodyPr anchor="b">
            <a:normAutofit/>
          </a:bodyPr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31E5CBF-528D-4C27-BD3D-52A728543F0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196271"/>
            <a:ext cx="10515600" cy="1500187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0" name="Picture 9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FB4ABDF5-105C-4805-AE9A-307C01A7B8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4975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liotsikko_vaalean_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3331C4A3-3B70-473F-87DC-97F62378B29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AEC2ADAF-8754-4CBB-B2D1-1331D17D25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2504504"/>
            <a:ext cx="10515600" cy="1500187"/>
          </a:xfrm>
        </p:spPr>
        <p:txBody>
          <a:bodyPr anchor="b">
            <a:normAutofit/>
          </a:bodyPr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B57B995B-39BF-44D4-988C-8C346A16CD9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196271"/>
            <a:ext cx="10515600" cy="1500187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8" name="Picture 7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3B8B122C-4305-4D0B-A2FA-D71C3E41AA5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6144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h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CF713E9-B21F-4277-80A4-C06234167A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760E5C-EBDA-4D35-835F-C4EA74A72D71}" type="datetime1">
              <a:rPr lang="fi-FI" smtClean="0"/>
              <a:t>23.3.2022</a:t>
            </a:fld>
            <a:endParaRPr lang="fi-FI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955944B-F0B9-4271-96BA-E6828C38A7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‹#›</a:t>
            </a:fld>
            <a:endParaRPr lang="fi-FI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A456CC2-9C69-4506-ADB6-C3431FE02F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algn="ctr"/>
            <a:r>
              <a:rPr lang="fi-FI"/>
              <a:t>Alatunniste</a:t>
            </a:r>
          </a:p>
        </p:txBody>
      </p:sp>
    </p:spTree>
    <p:extLst>
      <p:ext uri="{BB962C8B-B14F-4D97-AF65-F5344CB8AC3E}">
        <p14:creationId xmlns:p14="http://schemas.microsoft.com/office/powerpoint/2010/main" val="947199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hja_kuv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CF713E9-B21F-4277-80A4-C06234167A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760E5C-EBDA-4D35-835F-C4EA74A72D71}" type="datetime1">
              <a:rPr lang="fi-FI" smtClean="0"/>
              <a:t>23.3.2022</a:t>
            </a:fld>
            <a:endParaRPr lang="fi-FI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955944B-F0B9-4271-96BA-E6828C38A7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‹#›</a:t>
            </a:fld>
            <a:endParaRPr lang="fi-FI"/>
          </a:p>
        </p:txBody>
      </p:sp>
      <p:pic>
        <p:nvPicPr>
          <p:cNvPr id="5" name="Picture 4" descr="A picture containing text&#10;&#10;Description automatically generated">
            <a:extLst>
              <a:ext uri="{FF2B5EF4-FFF2-40B4-BE49-F238E27FC236}">
                <a16:creationId xmlns:a16="http://schemas.microsoft.com/office/drawing/2014/main" id="{F2D2C7BF-71D4-48BF-9DD2-FE65AF4A265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7890" y="812800"/>
            <a:ext cx="5496219" cy="5232400"/>
          </a:xfrm>
          <a:prstGeom prst="rect">
            <a:avLst/>
          </a:prstGeom>
        </p:spPr>
      </p:pic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5E94213E-8A70-4CDD-9D43-D0A90C3E1C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algn="ctr"/>
            <a:r>
              <a:rPr lang="fi-FI"/>
              <a:t>Alatunniste</a:t>
            </a:r>
          </a:p>
        </p:txBody>
      </p:sp>
    </p:spTree>
    <p:extLst>
      <p:ext uri="{BB962C8B-B14F-4D97-AF65-F5344CB8AC3E}">
        <p14:creationId xmlns:p14="http://schemas.microsoft.com/office/powerpoint/2010/main" val="2235254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Aloitusruutu_vaalea_fuk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0976162-363D-4121-9E86-0E9C8710F1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1B535A-2832-40CC-8AEF-35E74D099E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116" y="2000187"/>
            <a:ext cx="7407164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915B170-1F73-4995-907A-3CE28F8F76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8116" y="4562158"/>
            <a:ext cx="7407164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pic>
        <p:nvPicPr>
          <p:cNvPr id="5" name="Picture 4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822A6C1A-8158-4EA3-ACD3-C75B761DA4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0902" y="2000187"/>
            <a:ext cx="3645475" cy="308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1646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irakka_ja_sel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CF713E9-B21F-4277-80A4-C06234167A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8692EF-5F1C-49F9-BF88-7C49994B5FB9}" type="datetime1">
              <a:rPr lang="fi-FI" smtClean="0"/>
              <a:t>23.3.2022</a:t>
            </a:fld>
            <a:endParaRPr lang="fi-FI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955944B-F0B9-4271-96BA-E6828C38A7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‹#›</a:t>
            </a:fld>
            <a:endParaRPr lang="fi-FI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562D0573-C666-4B1A-9757-E53C856462BA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257501312"/>
              </p:ext>
            </p:extLst>
          </p:nvPr>
        </p:nvGraphicFramePr>
        <p:xfrm>
          <a:off x="850900" y="1314449"/>
          <a:ext cx="6329829" cy="45085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4F594614-D71D-4F1E-8614-54BFC47CAF7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7421563" y="1314449"/>
            <a:ext cx="3932237" cy="450850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58EF112B-7659-4965-8D51-4E3F618E5A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668" y="487242"/>
            <a:ext cx="9569557" cy="61318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28CB20B9-BF14-48B7-8FBF-55A893F501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algn="ctr"/>
            <a:r>
              <a:rPr lang="fi-FI"/>
              <a:t>Alatunniste</a:t>
            </a:r>
          </a:p>
        </p:txBody>
      </p:sp>
    </p:spTree>
    <p:extLst>
      <p:ext uri="{BB962C8B-B14F-4D97-AF65-F5344CB8AC3E}">
        <p14:creationId xmlns:p14="http://schemas.microsoft.com/office/powerpoint/2010/main" val="3298544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lkit_ja_sel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CF713E9-B21F-4277-80A4-C06234167A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ED8E3C-1D77-4DE1-BFA6-56BDED8E6778}" type="datetime1">
              <a:rPr lang="fi-FI" smtClean="0"/>
              <a:t>23.3.2022</a:t>
            </a:fld>
            <a:endParaRPr lang="fi-FI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955944B-F0B9-4271-96BA-E6828C38A7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‹#›</a:t>
            </a:fld>
            <a:endParaRPr lang="fi-FI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562D0573-C666-4B1A-9757-E53C856462BA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1114869723"/>
              </p:ext>
            </p:extLst>
          </p:nvPr>
        </p:nvGraphicFramePr>
        <p:xfrm>
          <a:off x="850900" y="1314449"/>
          <a:ext cx="6311900" cy="45085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4F594614-D71D-4F1E-8614-54BFC47CAF7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7421563" y="1314449"/>
            <a:ext cx="3932237" cy="450850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0E089EDF-B6EA-42D8-ABC5-DC3F5127A9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668" y="487242"/>
            <a:ext cx="9569557" cy="61318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2B898320-2141-47A4-9BD0-C34010A7F7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algn="ctr"/>
            <a:r>
              <a:rPr lang="fi-FI"/>
              <a:t>Alatunniste</a:t>
            </a:r>
          </a:p>
        </p:txBody>
      </p:sp>
    </p:spTree>
    <p:extLst>
      <p:ext uri="{BB962C8B-B14F-4D97-AF65-F5344CB8AC3E}">
        <p14:creationId xmlns:p14="http://schemas.microsoft.com/office/powerpoint/2010/main" val="305999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_tumma_fuks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92E092F-4C18-4469-8E83-6A834109ED1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2FAAFFF-5F2B-4165-A1EB-978BD4A568D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70956" y="1967371"/>
            <a:ext cx="7050087" cy="2291431"/>
          </a:xfrm>
        </p:spPr>
        <p:txBody>
          <a:bodyPr>
            <a:noAutofit/>
          </a:bodyPr>
          <a:lstStyle>
            <a:lvl1pPr marL="0" indent="0" algn="ctr">
              <a:buNone/>
              <a:defRPr sz="18000" spc="-15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5B32EA3-DA3E-406D-8BC9-DB57E97263D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70956" y="4416489"/>
            <a:ext cx="7050087" cy="1531937"/>
          </a:xfrm>
        </p:spPr>
        <p:txBody>
          <a:bodyPr>
            <a:normAutofit/>
          </a:bodyPr>
          <a:lstStyle>
            <a:lvl1pPr marL="0" indent="0" algn="ctr">
              <a:buNone/>
              <a:defRPr sz="4000" b="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9" name="Picture 8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66B60650-2462-4885-BDFA-965FD8BF28A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950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_vaalea_fuks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F300340-25EF-4F66-8FC0-3524FCC23AB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A5AC8F70-F194-41C7-805B-D92734070F4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70956" y="1967371"/>
            <a:ext cx="7050087" cy="2291431"/>
          </a:xfrm>
        </p:spPr>
        <p:txBody>
          <a:bodyPr>
            <a:noAutofit/>
          </a:bodyPr>
          <a:lstStyle>
            <a:lvl1pPr marL="0" indent="0" algn="ctr">
              <a:buNone/>
              <a:defRPr sz="18000" spc="-15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2FE8445C-4D7C-459B-A750-14E5D4ADDF7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70956" y="4416489"/>
            <a:ext cx="7050087" cy="1531937"/>
          </a:xfrm>
        </p:spPr>
        <p:txBody>
          <a:bodyPr>
            <a:normAutofit/>
          </a:bodyPr>
          <a:lstStyle>
            <a:lvl1pPr marL="0" indent="0" algn="ctr">
              <a:buNone/>
              <a:defRPr sz="4000" b="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9" name="Picture 8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0D5E3786-1E77-41FF-ACC3-2C07F23E9A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4151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_tumman_vihreä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E053C6DA-FD50-4615-B8FB-FF833B6B874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D8D3088-BD2C-4F0D-AC59-B1D90F282A1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70956" y="1967371"/>
            <a:ext cx="7050087" cy="2291431"/>
          </a:xfrm>
        </p:spPr>
        <p:txBody>
          <a:bodyPr>
            <a:noAutofit/>
          </a:bodyPr>
          <a:lstStyle>
            <a:lvl1pPr marL="0" indent="0" algn="ctr">
              <a:buNone/>
              <a:defRPr sz="18000" spc="-15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729D64E-D9FD-4A72-A218-5A46A2A9E00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70956" y="4416489"/>
            <a:ext cx="7050087" cy="1531937"/>
          </a:xfrm>
        </p:spPr>
        <p:txBody>
          <a:bodyPr>
            <a:normAutofit/>
          </a:bodyPr>
          <a:lstStyle>
            <a:lvl1pPr marL="0" indent="0" algn="ctr">
              <a:buNone/>
              <a:defRPr sz="4000" b="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3" name="Picture 12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E2367D72-1261-4F4B-95BA-C217F9F6FE4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7590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_vaalean_vihreä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5FDCB13-2229-4EDE-9601-A214D628E3E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10A3972D-8B49-48B9-A933-077AD84C2B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70956" y="1967371"/>
            <a:ext cx="7050087" cy="2291431"/>
          </a:xfrm>
        </p:spPr>
        <p:txBody>
          <a:bodyPr>
            <a:noAutofit/>
          </a:bodyPr>
          <a:lstStyle>
            <a:lvl1pPr marL="0" indent="0" algn="ctr">
              <a:buNone/>
              <a:defRPr sz="18000" spc="-15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0144724E-5CC4-417F-B397-D5FCDD27933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70956" y="4416489"/>
            <a:ext cx="7050087" cy="1531937"/>
          </a:xfrm>
        </p:spPr>
        <p:txBody>
          <a:bodyPr>
            <a:normAutofit/>
          </a:bodyPr>
          <a:lstStyle>
            <a:lvl1pPr marL="0" indent="0" algn="ctr">
              <a:buNone/>
              <a:defRPr sz="4000" b="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0" name="Picture 9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0E4A42AB-E5D2-487E-A666-3E81D0EC4CF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66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_tumman_sinin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D6DD7C14-1622-4EAE-AD65-6E914DFD8C1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09808EF1-5D0E-43DC-80F8-12870B32C9E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70956" y="1967371"/>
            <a:ext cx="7050087" cy="2291431"/>
          </a:xfrm>
        </p:spPr>
        <p:txBody>
          <a:bodyPr>
            <a:noAutofit/>
          </a:bodyPr>
          <a:lstStyle>
            <a:lvl1pPr marL="0" indent="0" algn="ctr">
              <a:buNone/>
              <a:defRPr sz="18000" spc="-15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10962C8-DE63-43D8-8942-0B0108C26B1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70956" y="4416489"/>
            <a:ext cx="7050087" cy="1531937"/>
          </a:xfrm>
        </p:spPr>
        <p:txBody>
          <a:bodyPr>
            <a:normAutofit/>
          </a:bodyPr>
          <a:lstStyle>
            <a:lvl1pPr marL="0" indent="0" algn="ctr">
              <a:buNone/>
              <a:defRPr sz="4000" b="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3" name="Picture 12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2D6D991B-5BB1-4C8D-8A99-46E6234F7EF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53815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_vaalean_sinin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6AD99560-B70C-4CB4-8E0D-135C4B4F0D2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2F4CE26A-6975-4088-8C1C-2779DB91995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70956" y="1967371"/>
            <a:ext cx="7050087" cy="2291431"/>
          </a:xfrm>
        </p:spPr>
        <p:txBody>
          <a:bodyPr>
            <a:noAutofit/>
          </a:bodyPr>
          <a:lstStyle>
            <a:lvl1pPr marL="0" indent="0" algn="ctr">
              <a:buNone/>
              <a:defRPr sz="18000" spc="-15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A4292A37-662E-4DBC-A495-79057914CC1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70956" y="4416489"/>
            <a:ext cx="7050087" cy="1531937"/>
          </a:xfrm>
        </p:spPr>
        <p:txBody>
          <a:bodyPr>
            <a:normAutofit/>
          </a:bodyPr>
          <a:lstStyle>
            <a:lvl1pPr marL="0" indent="0" algn="ctr">
              <a:buNone/>
              <a:defRPr sz="4000" b="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0" name="Picture 9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FAF58029-5C3F-4E73-9857-1AC430FAE03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5856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inaus_tumma_fuks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3812B7F-03F8-47AC-A428-BF026456F91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2B7FEA2D-6A52-47ED-8DFD-956DBBF7B7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2737" y="3069240"/>
            <a:ext cx="9026525" cy="2264569"/>
          </a:xfrm>
        </p:spPr>
        <p:txBody>
          <a:bodyPr anchor="t">
            <a:normAutofit/>
          </a:bodyPr>
          <a:lstStyle>
            <a:lvl1pPr algn="ctr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pic>
        <p:nvPicPr>
          <p:cNvPr id="3" name="Graphic 2" descr="Closed quotation mark">
            <a:extLst>
              <a:ext uri="{FF2B5EF4-FFF2-40B4-BE49-F238E27FC236}">
                <a16:creationId xmlns:a16="http://schemas.microsoft.com/office/drawing/2014/main" id="{CFBDBB6F-3A4D-4629-93D3-14502AE8EC4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3375" y="225439"/>
            <a:ext cx="4206846" cy="4206846"/>
          </a:xfrm>
          <a:prstGeom prst="rect">
            <a:avLst/>
          </a:prstGeom>
        </p:spPr>
      </p:pic>
      <p:pic>
        <p:nvPicPr>
          <p:cNvPr id="12" name="Graphic 11" descr="Closed quotation mark">
            <a:extLst>
              <a:ext uri="{FF2B5EF4-FFF2-40B4-BE49-F238E27FC236}">
                <a16:creationId xmlns:a16="http://schemas.microsoft.com/office/drawing/2014/main" id="{FDCD013D-750B-40EC-B3FD-30866C557B3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0800000">
            <a:off x="7877175" y="3230386"/>
            <a:ext cx="4206846" cy="4206846"/>
          </a:xfrm>
          <a:prstGeom prst="rect">
            <a:avLst/>
          </a:prstGeom>
        </p:spPr>
      </p:pic>
      <p:pic>
        <p:nvPicPr>
          <p:cNvPr id="8" name="Picture 7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2948B9A5-346C-4658-B145-33839B12055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4288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inaus_vaalea_fuks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63B5C1A-13B1-4DF6-9D59-D74F0DD9A7C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0D7ED0F-9041-499A-921C-AEFDAC4F82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2737" y="3069240"/>
            <a:ext cx="9026525" cy="2264569"/>
          </a:xfrm>
        </p:spPr>
        <p:txBody>
          <a:bodyPr anchor="t">
            <a:normAutofit/>
          </a:bodyPr>
          <a:lstStyle>
            <a:lvl1pPr algn="ctr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pic>
        <p:nvPicPr>
          <p:cNvPr id="8" name="Graphic 7" descr="Closed quotation mark">
            <a:extLst>
              <a:ext uri="{FF2B5EF4-FFF2-40B4-BE49-F238E27FC236}">
                <a16:creationId xmlns:a16="http://schemas.microsoft.com/office/drawing/2014/main" id="{2DF3ECAD-51F9-426B-BA2A-A31D15606BC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3375" y="225439"/>
            <a:ext cx="4206846" cy="4206846"/>
          </a:xfrm>
          <a:prstGeom prst="rect">
            <a:avLst/>
          </a:prstGeom>
        </p:spPr>
      </p:pic>
      <p:pic>
        <p:nvPicPr>
          <p:cNvPr id="9" name="Graphic 8" descr="Closed quotation mark">
            <a:extLst>
              <a:ext uri="{FF2B5EF4-FFF2-40B4-BE49-F238E27FC236}">
                <a16:creationId xmlns:a16="http://schemas.microsoft.com/office/drawing/2014/main" id="{054D988B-BD2E-4868-BD0C-02864267099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0800000">
            <a:off x="7877175" y="3230386"/>
            <a:ext cx="4206846" cy="4206846"/>
          </a:xfrm>
          <a:prstGeom prst="rect">
            <a:avLst/>
          </a:prstGeom>
        </p:spPr>
      </p:pic>
      <p:pic>
        <p:nvPicPr>
          <p:cNvPr id="10" name="Picture 9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3E6C6386-945C-47E0-A075-7592821D610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9380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Aloitusruutu_tumman_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0976162-363D-4121-9E86-0E9C8710F1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1B535A-2832-40CC-8AEF-35E74D099E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116" y="2000187"/>
            <a:ext cx="7407164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915B170-1F73-4995-907A-3CE28F8F76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8116" y="4562158"/>
            <a:ext cx="7407164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pic>
        <p:nvPicPr>
          <p:cNvPr id="5" name="Picture 4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822A6C1A-8158-4EA3-ACD3-C75B761DA4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0902" y="2000187"/>
            <a:ext cx="3645475" cy="308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0033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inaus_tumman_vihreä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AA28C2B3-EED9-4BDF-AC6A-C2BFC1453DA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D605A358-014F-48BC-99D7-1F4227F7FE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2737" y="3069240"/>
            <a:ext cx="9026525" cy="2264569"/>
          </a:xfrm>
        </p:spPr>
        <p:txBody>
          <a:bodyPr anchor="t">
            <a:normAutofit/>
          </a:bodyPr>
          <a:lstStyle>
            <a:lvl1pPr algn="ctr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pic>
        <p:nvPicPr>
          <p:cNvPr id="8" name="Graphic 7" descr="Closed quotation mark">
            <a:extLst>
              <a:ext uri="{FF2B5EF4-FFF2-40B4-BE49-F238E27FC236}">
                <a16:creationId xmlns:a16="http://schemas.microsoft.com/office/drawing/2014/main" id="{A0E55188-C435-4ADB-89AF-C484D0CC348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3375" y="225439"/>
            <a:ext cx="4206846" cy="4206846"/>
          </a:xfrm>
          <a:prstGeom prst="rect">
            <a:avLst/>
          </a:prstGeom>
        </p:spPr>
      </p:pic>
      <p:pic>
        <p:nvPicPr>
          <p:cNvPr id="9" name="Graphic 8" descr="Closed quotation mark">
            <a:extLst>
              <a:ext uri="{FF2B5EF4-FFF2-40B4-BE49-F238E27FC236}">
                <a16:creationId xmlns:a16="http://schemas.microsoft.com/office/drawing/2014/main" id="{5CC0672F-9201-45FA-9419-DF8790A0BC2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0800000">
            <a:off x="7877175" y="3230386"/>
            <a:ext cx="4206846" cy="4206846"/>
          </a:xfrm>
          <a:prstGeom prst="rect">
            <a:avLst/>
          </a:prstGeom>
        </p:spPr>
      </p:pic>
      <p:pic>
        <p:nvPicPr>
          <p:cNvPr id="10" name="Picture 9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FE4D2E0D-6F0C-4473-9A14-F0C36B7C2D2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1011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inaus_vaalean_vihreä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4D3C9BD-E553-4532-8F1B-692757DFFA3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2B7FEA2D-6A52-47ED-8DFD-956DBBF7B7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2737" y="3069240"/>
            <a:ext cx="9026525" cy="2264569"/>
          </a:xfrm>
        </p:spPr>
        <p:txBody>
          <a:bodyPr anchor="t">
            <a:normAutofit/>
          </a:bodyPr>
          <a:lstStyle>
            <a:lvl1pPr algn="ctr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pic>
        <p:nvPicPr>
          <p:cNvPr id="3" name="Graphic 2" descr="Closed quotation mark">
            <a:extLst>
              <a:ext uri="{FF2B5EF4-FFF2-40B4-BE49-F238E27FC236}">
                <a16:creationId xmlns:a16="http://schemas.microsoft.com/office/drawing/2014/main" id="{CFBDBB6F-3A4D-4629-93D3-14502AE8EC4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3375" y="225439"/>
            <a:ext cx="4206846" cy="4206846"/>
          </a:xfrm>
          <a:prstGeom prst="rect">
            <a:avLst/>
          </a:prstGeom>
        </p:spPr>
      </p:pic>
      <p:pic>
        <p:nvPicPr>
          <p:cNvPr id="12" name="Graphic 11" descr="Closed quotation mark">
            <a:extLst>
              <a:ext uri="{FF2B5EF4-FFF2-40B4-BE49-F238E27FC236}">
                <a16:creationId xmlns:a16="http://schemas.microsoft.com/office/drawing/2014/main" id="{FDCD013D-750B-40EC-B3FD-30866C557B3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0800000">
            <a:off x="7877175" y="3230386"/>
            <a:ext cx="4206846" cy="4206846"/>
          </a:xfrm>
          <a:prstGeom prst="rect">
            <a:avLst/>
          </a:prstGeom>
        </p:spPr>
      </p:pic>
      <p:pic>
        <p:nvPicPr>
          <p:cNvPr id="6" name="Picture 5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F5C3D7A0-CEE8-4810-AC66-8EEF47827F7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3621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inaus_tumman_sinin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32F164F4-88DD-4DB6-A969-CF67CBF9190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0D7ED0F-9041-499A-921C-AEFDAC4F82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2737" y="3069240"/>
            <a:ext cx="9026525" cy="2264569"/>
          </a:xfrm>
        </p:spPr>
        <p:txBody>
          <a:bodyPr anchor="t">
            <a:normAutofit/>
          </a:bodyPr>
          <a:lstStyle>
            <a:lvl1pPr algn="ctr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pic>
        <p:nvPicPr>
          <p:cNvPr id="8" name="Graphic 7" descr="Closed quotation mark">
            <a:extLst>
              <a:ext uri="{FF2B5EF4-FFF2-40B4-BE49-F238E27FC236}">
                <a16:creationId xmlns:a16="http://schemas.microsoft.com/office/drawing/2014/main" id="{2DF3ECAD-51F9-426B-BA2A-A31D15606BC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3375" y="225439"/>
            <a:ext cx="4206846" cy="4206846"/>
          </a:xfrm>
          <a:prstGeom prst="rect">
            <a:avLst/>
          </a:prstGeom>
        </p:spPr>
      </p:pic>
      <p:pic>
        <p:nvPicPr>
          <p:cNvPr id="9" name="Graphic 8" descr="Closed quotation mark">
            <a:extLst>
              <a:ext uri="{FF2B5EF4-FFF2-40B4-BE49-F238E27FC236}">
                <a16:creationId xmlns:a16="http://schemas.microsoft.com/office/drawing/2014/main" id="{054D988B-BD2E-4868-BD0C-02864267099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0800000">
            <a:off x="7877175" y="3230386"/>
            <a:ext cx="4206846" cy="4206846"/>
          </a:xfrm>
          <a:prstGeom prst="rect">
            <a:avLst/>
          </a:prstGeom>
        </p:spPr>
      </p:pic>
      <p:pic>
        <p:nvPicPr>
          <p:cNvPr id="6" name="Picture 5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9BD1C4AC-F731-4E7C-B6EF-52E5B96F5D8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1063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inaus_vaalean_sinin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1ACB5D14-0A9E-4CB4-A060-CF81F97CF1E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D605A358-014F-48BC-99D7-1F4227F7FE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2737" y="3069240"/>
            <a:ext cx="9026525" cy="2264569"/>
          </a:xfrm>
        </p:spPr>
        <p:txBody>
          <a:bodyPr anchor="t">
            <a:normAutofit/>
          </a:bodyPr>
          <a:lstStyle>
            <a:lvl1pPr algn="ctr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pic>
        <p:nvPicPr>
          <p:cNvPr id="8" name="Graphic 7" descr="Closed quotation mark">
            <a:extLst>
              <a:ext uri="{FF2B5EF4-FFF2-40B4-BE49-F238E27FC236}">
                <a16:creationId xmlns:a16="http://schemas.microsoft.com/office/drawing/2014/main" id="{A0E55188-C435-4ADB-89AF-C484D0CC348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3375" y="225439"/>
            <a:ext cx="4206846" cy="4206846"/>
          </a:xfrm>
          <a:prstGeom prst="rect">
            <a:avLst/>
          </a:prstGeom>
        </p:spPr>
      </p:pic>
      <p:pic>
        <p:nvPicPr>
          <p:cNvPr id="9" name="Graphic 8" descr="Closed quotation mark">
            <a:extLst>
              <a:ext uri="{FF2B5EF4-FFF2-40B4-BE49-F238E27FC236}">
                <a16:creationId xmlns:a16="http://schemas.microsoft.com/office/drawing/2014/main" id="{5CC0672F-9201-45FA-9419-DF8790A0BC2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0800000">
            <a:off x="7877175" y="3230386"/>
            <a:ext cx="4206846" cy="4206846"/>
          </a:xfrm>
          <a:prstGeom prst="rect">
            <a:avLst/>
          </a:prstGeom>
        </p:spPr>
      </p:pic>
      <p:pic>
        <p:nvPicPr>
          <p:cNvPr id="6" name="Picture 5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6C7CBFF0-AFA3-42D3-93F0-41E668754AB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684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alto_pals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143383C-D902-4359-B134-36B4C4F73CF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8156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8B999F5-4813-427F-A4E4-5335441DBDA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160494"/>
            <a:ext cx="3932237" cy="3708494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000F1A4-B81E-45E1-9606-07525FFE27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9F7C74-FDAC-47C9-85FF-A93A4A77D2DE}" type="datetime1">
              <a:rPr lang="fi-FI" smtClean="0"/>
              <a:t>23.3.2022</a:t>
            </a:fld>
            <a:endParaRPr lang="fi-FI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840F95E-9FAF-473A-8740-38C0D6F755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‹#›</a:t>
            </a:fld>
            <a:endParaRPr lang="fi-FI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D4EB64A9-0753-493D-931D-D429FE2A22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987425"/>
            <a:ext cx="3932237" cy="965199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27897217-BD8C-4F57-9294-7DC932179A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algn="ctr"/>
            <a:r>
              <a:rPr lang="fi-FI"/>
              <a:t>Alatunniste</a:t>
            </a:r>
          </a:p>
        </p:txBody>
      </p:sp>
    </p:spTree>
    <p:extLst>
      <p:ext uri="{BB962C8B-B14F-4D97-AF65-F5344CB8AC3E}">
        <p14:creationId xmlns:p14="http://schemas.microsoft.com/office/powerpoint/2010/main" val="2247500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oli_sivua_kuva_valko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0E54EFB4-12B2-4DFE-9F2E-3D2DD7CA7A1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7288306" y="0"/>
            <a:ext cx="4903694" cy="6858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i-FI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96869CB-89D0-4DA9-89A5-3150AD97AD9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160494"/>
            <a:ext cx="6036141" cy="3708494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309055EB-5B06-42A3-A3F7-9558E538E1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987425"/>
            <a:ext cx="6036141" cy="965199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pic>
        <p:nvPicPr>
          <p:cNvPr id="11" name="Picture 10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93E22456-AB22-4CB4-9C0E-E7E2302CA3D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9583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oli_sivua_kuva_tumma_fuk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54224DE-DE84-4CDB-804C-D62F8DBAD4A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636513FB-22B8-45CF-AEF7-A64E2EBADB8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7288306" y="0"/>
            <a:ext cx="4903694" cy="6858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689C3558-BCB4-4A57-AFB2-95ED2FE2816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160494"/>
            <a:ext cx="6036141" cy="3708494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 sz="1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2pPr>
            <a:lvl3pPr marL="914400" indent="0">
              <a:buNone/>
              <a:defRPr sz="12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E68424A2-D2D4-4E4F-9B59-69E589A8D3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987425"/>
            <a:ext cx="6036141" cy="965199"/>
          </a:xfrm>
        </p:spPr>
        <p:txBody>
          <a:bodyPr anchor="b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pic>
        <p:nvPicPr>
          <p:cNvPr id="15" name="Picture 14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3FEABE71-E81F-4523-B5C3-B7A2E66D3CB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6719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oli_sivua_kuva_vaalea_fuk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D6E9C94-F91C-4351-80A3-EF626BB6D9F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5C731633-EDC4-4E10-A99C-BCF4E3D47F0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7288306" y="0"/>
            <a:ext cx="4903694" cy="6858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74383859-0CAC-4E51-BE74-57E16ABFBCD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160494"/>
            <a:ext cx="6036141" cy="3708494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 sz="1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2pPr>
            <a:lvl3pPr marL="914400" indent="0">
              <a:buNone/>
              <a:defRPr sz="12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8A68DA7D-4465-4F6E-8E5C-4866B5E828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987425"/>
            <a:ext cx="6036141" cy="965199"/>
          </a:xfrm>
        </p:spPr>
        <p:txBody>
          <a:bodyPr anchor="b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pic>
        <p:nvPicPr>
          <p:cNvPr id="17" name="Picture 16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97076935-D697-414D-AD85-CDF94E89038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756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oli_sivua_kuva_tumman_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44D596EB-6C87-4E77-A282-E8F4AC510AA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79554269-A758-425E-A7A9-3297720BD12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7288306" y="0"/>
            <a:ext cx="4903694" cy="6858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2DA1327E-385A-450D-B8CB-02C8C36636A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160494"/>
            <a:ext cx="6036141" cy="3708494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 sz="1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2pPr>
            <a:lvl3pPr marL="914400" indent="0">
              <a:buNone/>
              <a:defRPr sz="12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04CD8A6-3E7E-41DC-8B95-CADBC6BE8E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987425"/>
            <a:ext cx="6036141" cy="965199"/>
          </a:xfrm>
        </p:spPr>
        <p:txBody>
          <a:bodyPr anchor="b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pic>
        <p:nvPicPr>
          <p:cNvPr id="19" name="Picture 18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969AA01B-7F14-434E-9FCE-1A5429402C1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4115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oli_sivua_kuva_vaalean_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E3197DA-176C-4FE5-917B-D17DC70B754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A7A8F4DB-F8D7-4D33-9C7B-C531A059907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7288306" y="0"/>
            <a:ext cx="4903694" cy="6858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30538F70-F123-419A-9310-66299939375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160494"/>
            <a:ext cx="6036141" cy="3708494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 sz="1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2pPr>
            <a:lvl3pPr marL="914400" indent="0">
              <a:buNone/>
              <a:defRPr sz="12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A0D085CB-FF03-477D-99B3-E2B4ACDB91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987425"/>
            <a:ext cx="6036141" cy="965199"/>
          </a:xfrm>
        </p:spPr>
        <p:txBody>
          <a:bodyPr anchor="b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pic>
        <p:nvPicPr>
          <p:cNvPr id="17" name="Picture 16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32B46A89-505B-4C00-9603-774EE16B94E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343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Aloitusruutu_vaalean_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0976162-363D-4121-9E86-0E9C8710F1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1B535A-2832-40CC-8AEF-35E74D099E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116" y="2000187"/>
            <a:ext cx="7407164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915B170-1F73-4995-907A-3CE28F8F76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8116" y="4562158"/>
            <a:ext cx="7407164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pic>
        <p:nvPicPr>
          <p:cNvPr id="5" name="Picture 4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822A6C1A-8158-4EA3-ACD3-C75B761DA4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0902" y="2000187"/>
            <a:ext cx="3645475" cy="308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2258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oli_sivua_kuva_tumman_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 descr="Deciduous tree">
            <a:extLst>
              <a:ext uri="{FF2B5EF4-FFF2-40B4-BE49-F238E27FC236}">
                <a16:creationId xmlns:a16="http://schemas.microsoft.com/office/drawing/2014/main" id="{A93C0E96-BAF3-4CE6-893E-BBBF4EBBF80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585642" y="2665254"/>
            <a:ext cx="4720908" cy="4720908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70E12F5B-6168-40D0-A95F-7BDBB48756D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9CACB86E-ED50-48E8-88C1-FFE2056D2CE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7288306" y="0"/>
            <a:ext cx="4903694" cy="6858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120CEAFD-8292-45D3-B6A0-B7E44502677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160494"/>
            <a:ext cx="6036141" cy="3708494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 sz="1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2pPr>
            <a:lvl3pPr marL="914400" indent="0">
              <a:buNone/>
              <a:defRPr sz="12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F2DDBF5D-668F-4A0C-B7A0-CADB0FE881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987425"/>
            <a:ext cx="6036141" cy="965199"/>
          </a:xfrm>
        </p:spPr>
        <p:txBody>
          <a:bodyPr anchor="b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pic>
        <p:nvPicPr>
          <p:cNvPr id="19" name="Picture 18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8F3EC7DD-D9F8-4C93-8A6B-1B071ABDC33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3269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oli_sivua_kuva_vaalean_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C4A104B-18AA-4D32-99D1-997AD724506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75F519A0-39B0-4EC5-A2A2-3EA77121432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7288306" y="0"/>
            <a:ext cx="4903694" cy="6858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D42A1AF-7F9C-4CF2-BBFC-B82C6AD759B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160494"/>
            <a:ext cx="6036141" cy="3708494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 sz="1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2pPr>
            <a:lvl3pPr marL="914400" indent="0">
              <a:buNone/>
              <a:defRPr sz="12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5E104650-C3CA-4705-9048-D79637A331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987425"/>
            <a:ext cx="6036141" cy="965199"/>
          </a:xfrm>
        </p:spPr>
        <p:txBody>
          <a:bodyPr anchor="b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pic>
        <p:nvPicPr>
          <p:cNvPr id="17" name="Picture 16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8A0A90A8-9FE0-4C37-82BD-085ACB37DFB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1166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Vaa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C746F1-38DD-4FD1-8721-CA848852FC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B6F0F28-7AEF-4281-9330-AB1ACB57916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6830CEB-310C-4C23-BD33-AD1ABF5D42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96E634-4747-4C18-9630-96A196DBF87F}" type="datetime1">
              <a:rPr lang="fi-FI" smtClean="0"/>
              <a:t>23.3.2022</a:t>
            </a:fld>
            <a:endParaRPr lang="fi-F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8DFE85-AC06-48FB-92D6-25F3F0EA7D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‹#›</a:t>
            </a:fld>
            <a:endParaRPr lang="fi-FI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3C718087-0904-42CB-BF7F-BF506ABCAA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algn="ctr"/>
            <a:r>
              <a:rPr lang="fi-FI"/>
              <a:t>Alatunniste</a:t>
            </a:r>
          </a:p>
        </p:txBody>
      </p:sp>
    </p:spTree>
    <p:extLst>
      <p:ext uri="{BB962C8B-B14F-4D97-AF65-F5344CB8AC3E}">
        <p14:creationId xmlns:p14="http://schemas.microsoft.com/office/powerpoint/2010/main" val="1622450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aaka_ja_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C0FA221-AA95-4298-AD12-8A88E18CD9B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1033271"/>
            <a:ext cx="2628900" cy="5143691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49273D4-E8DF-45BF-9698-44476027888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1033271"/>
            <a:ext cx="7734300" cy="5143692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E20074-A776-4019-A129-04037FC893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DEE36B-1FB8-4D59-A82C-0E27C43A5F1F}" type="datetime1">
              <a:rPr lang="fi-FI" smtClean="0"/>
              <a:t>23.3.2022</a:t>
            </a:fld>
            <a:endParaRPr lang="fi-F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6F14635-FF9B-4224-842E-C960380FAF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‹#›</a:t>
            </a:fld>
            <a:endParaRPr lang="fi-FI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3FF30BED-DFC0-40F3-8884-6966E14F2B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algn="ctr"/>
            <a:r>
              <a:rPr lang="fi-FI"/>
              <a:t>Alatunniste</a:t>
            </a:r>
          </a:p>
        </p:txBody>
      </p:sp>
    </p:spTree>
    <p:extLst>
      <p:ext uri="{BB962C8B-B14F-4D97-AF65-F5344CB8AC3E}">
        <p14:creationId xmlns:p14="http://schemas.microsoft.com/office/powerpoint/2010/main" val="931100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oitusruutu_valko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C8FAA00-08CB-4D42-BC42-5FD10B8E1D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D43059-99C1-4944-9656-B1D921B30889}" type="datetime1">
              <a:rPr lang="fi-FI" smtClean="0"/>
              <a:t>23.3.2022</a:t>
            </a:fld>
            <a:endParaRPr lang="fi-F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1B36D59-2219-4745-8866-3C10FB77AB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‹#›</a:t>
            </a:fld>
            <a:endParaRPr lang="fi-FI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F5469C93-8108-497E-AE09-69B91A1ABF4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116" y="2000187"/>
            <a:ext cx="7407164" cy="2387600"/>
          </a:xfrm>
        </p:spPr>
        <p:txBody>
          <a:bodyPr anchor="b"/>
          <a:lstStyle>
            <a:lvl1pPr algn="l"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EEFA9397-4EC2-428C-8028-EC8F9418B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8116" y="4562158"/>
            <a:ext cx="7407164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pic>
        <p:nvPicPr>
          <p:cNvPr id="13" name="Picture 12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7042E8DA-BDAD-400E-B10D-5DDB2028D58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0902" y="2000187"/>
            <a:ext cx="3645475" cy="3089974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E5960C26-0006-4CDB-BFA6-EED7F960FBB8}"/>
              </a:ext>
            </a:extLst>
          </p:cNvPr>
          <p:cNvSpPr/>
          <p:nvPr userDrawn="1"/>
        </p:nvSpPr>
        <p:spPr>
          <a:xfrm>
            <a:off x="9983495" y="0"/>
            <a:ext cx="2208505" cy="161544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A7633F30-81AA-4E31-B02C-5D35D292036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0902" y="2000060"/>
            <a:ext cx="3645475" cy="3089974"/>
          </a:xfrm>
          <a:prstGeom prst="rect">
            <a:avLst/>
          </a:prstGeom>
        </p:spPr>
      </p:pic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60B4022C-4631-4B82-ABDB-2F2B7E3881C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algn="ctr"/>
            <a:r>
              <a:rPr lang="fi-FI"/>
              <a:t>Alatunniste</a:t>
            </a:r>
          </a:p>
        </p:txBody>
      </p:sp>
    </p:spTree>
    <p:extLst>
      <p:ext uri="{BB962C8B-B14F-4D97-AF65-F5344CB8AC3E}">
        <p14:creationId xmlns:p14="http://schemas.microsoft.com/office/powerpoint/2010/main" val="905831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Aloitusruutu_Tumma_fuk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0976162-363D-4121-9E86-0E9C8710F1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1B535A-2832-40CC-8AEF-35E74D099E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116" y="2000187"/>
            <a:ext cx="7407164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915B170-1F73-4995-907A-3CE28F8F76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8116" y="4562158"/>
            <a:ext cx="7407164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pic>
        <p:nvPicPr>
          <p:cNvPr id="5" name="Picture 4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822A6C1A-8158-4EA3-ACD3-C75B761DA4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0902" y="2000187"/>
            <a:ext cx="3645475" cy="308997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3DB6CCF-4A6C-4CF2-81A9-169BDCA2331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0494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Aloitusruutu_vaalea_fuk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0976162-363D-4121-9E86-0E9C8710F1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1B535A-2832-40CC-8AEF-35E74D099E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116" y="2000187"/>
            <a:ext cx="7407164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915B170-1F73-4995-907A-3CE28F8F76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8116" y="4562158"/>
            <a:ext cx="7407164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pic>
        <p:nvPicPr>
          <p:cNvPr id="5" name="Picture 4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822A6C1A-8158-4EA3-ACD3-C75B761DA4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0902" y="2000187"/>
            <a:ext cx="3645475" cy="308997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6613919-E40D-4E1C-91AE-4EC06299956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3800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Aloitusruutu_tumman_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0976162-363D-4121-9E86-0E9C8710F1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1B535A-2832-40CC-8AEF-35E74D099E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116" y="2000187"/>
            <a:ext cx="7407164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915B170-1F73-4995-907A-3CE28F8F76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8116" y="4562158"/>
            <a:ext cx="7407164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pic>
        <p:nvPicPr>
          <p:cNvPr id="5" name="Picture 4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822A6C1A-8158-4EA3-ACD3-C75B761DA4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0902" y="2000187"/>
            <a:ext cx="3645475" cy="308997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2240283-3B0C-4D0D-BE44-5667AE81A58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0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Aloitusruutu_vaalean_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0976162-363D-4121-9E86-0E9C8710F1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1B535A-2832-40CC-8AEF-35E74D099E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116" y="2000187"/>
            <a:ext cx="7407164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915B170-1F73-4995-907A-3CE28F8F76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8116" y="4562158"/>
            <a:ext cx="7407164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pic>
        <p:nvPicPr>
          <p:cNvPr id="5" name="Picture 4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822A6C1A-8158-4EA3-ACD3-C75B761DA4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0902" y="2000187"/>
            <a:ext cx="3645475" cy="308997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646688D-317B-46E6-8381-0BFD0E9AEEF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78496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Aloitusruutu_tumman_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0976162-363D-4121-9E86-0E9C8710F1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1B535A-2832-40CC-8AEF-35E74D099E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116" y="2000187"/>
            <a:ext cx="7407164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915B170-1F73-4995-907A-3CE28F8F76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8116" y="4562158"/>
            <a:ext cx="7407164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pic>
        <p:nvPicPr>
          <p:cNvPr id="5" name="Picture 4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822A6C1A-8158-4EA3-ACD3-C75B761DA4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0902" y="2000187"/>
            <a:ext cx="3645475" cy="308997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2562931-1CE2-4D82-AD64-F416F6FD377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4573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Aloitusruutu_tumman_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0976162-363D-4121-9E86-0E9C8710F1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1B535A-2832-40CC-8AEF-35E74D099E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116" y="2000187"/>
            <a:ext cx="7407164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915B170-1F73-4995-907A-3CE28F8F76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8116" y="4562158"/>
            <a:ext cx="7407164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pic>
        <p:nvPicPr>
          <p:cNvPr id="5" name="Picture 4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822A6C1A-8158-4EA3-ACD3-C75B761DA4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0902" y="2000187"/>
            <a:ext cx="3645475" cy="308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7088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Aloitusruutu_vaalean_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0976162-363D-4121-9E86-0E9C8710F1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1B535A-2832-40CC-8AEF-35E74D099E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116" y="2000187"/>
            <a:ext cx="7407164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915B170-1F73-4995-907A-3CE28F8F76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8116" y="4562158"/>
            <a:ext cx="7407164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pic>
        <p:nvPicPr>
          <p:cNvPr id="5" name="Picture 4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822A6C1A-8158-4EA3-ACD3-C75B761DA4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0902" y="2000187"/>
            <a:ext cx="3645475" cy="308997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74BE6B3-307D-41F0-B2A8-C4BA8B7F391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1168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oitusruutu_valkoinen_kuv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DC03B558-6B57-4598-B3E8-8733F4936D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83495" y="6257748"/>
            <a:ext cx="1074804" cy="365125"/>
          </a:xfrm>
        </p:spPr>
        <p:txBody>
          <a:bodyPr/>
          <a:lstStyle/>
          <a:p>
            <a:fld id="{54D43059-99C1-4944-9656-B1D921B30889}" type="datetime1">
              <a:rPr lang="fi-FI" smtClean="0"/>
              <a:t>23.3.2022</a:t>
            </a:fld>
            <a:endParaRPr lang="fi-F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0D928AD-5ED4-4BF6-839E-DB314089DA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75568" y="6257749"/>
            <a:ext cx="603473" cy="365125"/>
          </a:xfrm>
        </p:spPr>
        <p:txBody>
          <a:bodyPr/>
          <a:lstStyle/>
          <a:p>
            <a:fld id="{D5C7B8F6-2765-465B-BF52-D1DF320C1AE3}" type="slidenum">
              <a:rPr lang="fi-FI" smtClean="0"/>
              <a:t>‹#›</a:t>
            </a:fld>
            <a:endParaRPr lang="fi-FI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A4890241-FB3C-4BAC-8DB3-B8C212506C3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116" y="2000187"/>
            <a:ext cx="7407164" cy="2387600"/>
          </a:xfrm>
        </p:spPr>
        <p:txBody>
          <a:bodyPr anchor="b"/>
          <a:lstStyle>
            <a:lvl1pPr algn="l"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40014D83-E6A2-42CD-93B8-2757E8E6A3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8116" y="4562158"/>
            <a:ext cx="7407164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pic>
        <p:nvPicPr>
          <p:cNvPr id="16" name="Picture 15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6AB84055-9B6F-4667-A415-4141BF2F686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0902" y="2000187"/>
            <a:ext cx="3645475" cy="3089974"/>
          </a:xfrm>
          <a:prstGeom prst="rect">
            <a:avLst/>
          </a:prstGeom>
        </p:spPr>
      </p:pic>
      <p:pic>
        <p:nvPicPr>
          <p:cNvPr id="17" name="Picture 16" descr="A picture containing text&#10;&#10;Description automatically generated">
            <a:extLst>
              <a:ext uri="{FF2B5EF4-FFF2-40B4-BE49-F238E27FC236}">
                <a16:creationId xmlns:a16="http://schemas.microsoft.com/office/drawing/2014/main" id="{471F456E-EC89-42DF-8E0F-AF14097D32A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2994" y="1686720"/>
            <a:ext cx="3649916" cy="347472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9B27861D-71CD-4784-A6DE-E6BC1DB56222}"/>
              </a:ext>
            </a:extLst>
          </p:cNvPr>
          <p:cNvSpPr/>
          <p:nvPr userDrawn="1"/>
        </p:nvSpPr>
        <p:spPr>
          <a:xfrm>
            <a:off x="9983495" y="0"/>
            <a:ext cx="2208505" cy="161544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1244C952-ACC9-4870-B87B-DE9F734AC30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algn="ctr"/>
            <a:r>
              <a:rPr lang="fi-FI"/>
              <a:t>Alatunniste</a:t>
            </a:r>
          </a:p>
        </p:txBody>
      </p:sp>
    </p:spTree>
    <p:extLst>
      <p:ext uri="{BB962C8B-B14F-4D97-AF65-F5344CB8AC3E}">
        <p14:creationId xmlns:p14="http://schemas.microsoft.com/office/powerpoint/2010/main" val="17896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Aloitusruutu_tumma_fuksia_kuv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0976162-363D-4121-9E86-0E9C8710F1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1B535A-2832-40CC-8AEF-35E74D099E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116" y="2000187"/>
            <a:ext cx="7407164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915B170-1F73-4995-907A-3CE28F8F76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8116" y="4562158"/>
            <a:ext cx="7407164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pic>
        <p:nvPicPr>
          <p:cNvPr id="6" name="Picture 5" descr="A picture containing text, blackboard&#10;&#10;Description automatically generated">
            <a:extLst>
              <a:ext uri="{FF2B5EF4-FFF2-40B4-BE49-F238E27FC236}">
                <a16:creationId xmlns:a16="http://schemas.microsoft.com/office/drawing/2014/main" id="{5D0F3E8B-B9D6-401B-89DB-DECA733FA2E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2876" y="1691640"/>
            <a:ext cx="3649916" cy="347472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D2C8CA8-8603-41A4-9DD3-10B8144817D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6722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Aloitusruutu_vaalea_fuksia_kuv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0976162-363D-4121-9E86-0E9C8710F1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1B535A-2832-40CC-8AEF-35E74D099E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116" y="2000187"/>
            <a:ext cx="7407164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915B170-1F73-4995-907A-3CE28F8F76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8116" y="4562158"/>
            <a:ext cx="7407164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pic>
        <p:nvPicPr>
          <p:cNvPr id="6" name="Picture 5" descr="A picture containing text, blackboard&#10;&#10;Description automatically generated">
            <a:extLst>
              <a:ext uri="{FF2B5EF4-FFF2-40B4-BE49-F238E27FC236}">
                <a16:creationId xmlns:a16="http://schemas.microsoft.com/office/drawing/2014/main" id="{14FCAC9C-93C3-4BF3-AA69-FB92EE27B6D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2876" y="1691640"/>
            <a:ext cx="3649916" cy="347472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6353A0D-6841-4B42-BD5B-AC1A73F1AE5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5189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Aloitusruutu_tumman_vihreä_kuv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0976162-363D-4121-9E86-0E9C8710F1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1B535A-2832-40CC-8AEF-35E74D099E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116" y="2000187"/>
            <a:ext cx="7407164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915B170-1F73-4995-907A-3CE28F8F76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8116" y="4562158"/>
            <a:ext cx="7407164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pic>
        <p:nvPicPr>
          <p:cNvPr id="6" name="Picture 5" descr="A picture containing text, blackboard&#10;&#10;Description automatically generated">
            <a:extLst>
              <a:ext uri="{FF2B5EF4-FFF2-40B4-BE49-F238E27FC236}">
                <a16:creationId xmlns:a16="http://schemas.microsoft.com/office/drawing/2014/main" id="{81566161-9E2C-4A0C-B626-D0B4BE1F3E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2876" y="1691640"/>
            <a:ext cx="3649916" cy="347472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F4DEC7E-5326-4131-9336-902152B25D0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9613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Aloitusruutu_vaalean_vihreä_kuv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0976162-363D-4121-9E86-0E9C8710F1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1B535A-2832-40CC-8AEF-35E74D099E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116" y="2000187"/>
            <a:ext cx="7407164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915B170-1F73-4995-907A-3CE28F8F76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8116" y="4562158"/>
            <a:ext cx="7407164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pic>
        <p:nvPicPr>
          <p:cNvPr id="6" name="Picture 5" descr="A picture containing text, blackboard&#10;&#10;Description automatically generated">
            <a:extLst>
              <a:ext uri="{FF2B5EF4-FFF2-40B4-BE49-F238E27FC236}">
                <a16:creationId xmlns:a16="http://schemas.microsoft.com/office/drawing/2014/main" id="{32E69FE4-0D14-42F3-8ED8-B83ACA2DCA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2876" y="1691640"/>
            <a:ext cx="3649916" cy="347472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6B987F8-229E-46EB-8188-78F976D74A8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5787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Aloitusruutu_tumman_sininen_kuv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0976162-363D-4121-9E86-0E9C8710F1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1B535A-2832-40CC-8AEF-35E74D099E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116" y="2000187"/>
            <a:ext cx="7407164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915B170-1F73-4995-907A-3CE28F8F76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8116" y="4562158"/>
            <a:ext cx="7407164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pic>
        <p:nvPicPr>
          <p:cNvPr id="6" name="Picture 5" descr="A picture containing text, blackboard&#10;&#10;Description automatically generated">
            <a:extLst>
              <a:ext uri="{FF2B5EF4-FFF2-40B4-BE49-F238E27FC236}">
                <a16:creationId xmlns:a16="http://schemas.microsoft.com/office/drawing/2014/main" id="{3339BBCE-72EB-4416-82B5-95E4D23ADFA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2876" y="1691640"/>
            <a:ext cx="3649916" cy="347472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31C5F59-1A73-4A2D-ACD6-B8171302A2F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6412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Aloitusruutu_vaalean_sininen_kuv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0976162-363D-4121-9E86-0E9C8710F1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1B535A-2832-40CC-8AEF-35E74D099E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116" y="2000187"/>
            <a:ext cx="7407164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915B170-1F73-4995-907A-3CE28F8F76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8116" y="4562158"/>
            <a:ext cx="7407164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pic>
        <p:nvPicPr>
          <p:cNvPr id="6" name="Picture 5" descr="A picture containing text, blackboard&#10;&#10;Description automatically generated">
            <a:extLst>
              <a:ext uri="{FF2B5EF4-FFF2-40B4-BE49-F238E27FC236}">
                <a16:creationId xmlns:a16="http://schemas.microsoft.com/office/drawing/2014/main" id="{D8FE91E8-160A-4795-8140-A27E909079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2876" y="1691640"/>
            <a:ext cx="3649916" cy="347472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335B6EE-4BD2-4FA8-B567-08DB7C3DC81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5890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_ranskalaiset_viiv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21133D-692A-4488-9BA5-BB01BBC4CA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405DE7-9A18-4FFD-BB85-379C5A20C66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024539" y="6257749"/>
            <a:ext cx="945718" cy="365125"/>
          </a:xfrm>
        </p:spPr>
        <p:txBody>
          <a:bodyPr/>
          <a:lstStyle/>
          <a:p>
            <a:fld id="{CCE76DBD-9ABD-401A-ACC4-8E3C979D470F}" type="datetime1">
              <a:rPr lang="fi-FI" smtClean="0"/>
              <a:t>23.3.2022</a:t>
            </a:fld>
            <a:endParaRPr lang="fi-F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A863EE8-A52B-409A-9FBC-73FBB2C250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‹#›</a:t>
            </a:fld>
            <a:endParaRPr lang="fi-FI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36539525-7551-48F7-8D8F-A020ECBC39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3669" y="1299308"/>
            <a:ext cx="11205372" cy="47293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B766A24-A8D9-4DFA-BA8B-3E0D6E55AD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algn="ctr"/>
            <a:r>
              <a:rPr lang="fi-FI"/>
              <a:t>Alatunniste</a:t>
            </a:r>
          </a:p>
        </p:txBody>
      </p:sp>
    </p:spTree>
    <p:extLst>
      <p:ext uri="{BB962C8B-B14F-4D97-AF65-F5344CB8AC3E}">
        <p14:creationId xmlns:p14="http://schemas.microsoft.com/office/powerpoint/2010/main" val="2977717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_ranskalaiset_viivat_iso_kontra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35B1E6AE-7991-4811-B577-296CC00A000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721133D-692A-4488-9BA5-BB01BBC4CA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1D9F2CD-E67A-48D8-85FB-E255AB0F441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>
              <a:defRPr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2pPr>
            <a:lvl3pPr>
              <a:defRPr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3pPr>
            <a:lvl4pPr>
              <a:defRPr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4pPr>
            <a:lvl5pPr>
              <a:defRPr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405DE7-9A18-4FFD-BB85-379C5A20C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</a:lstStyle>
          <a:p>
            <a:fld id="{8EA296CD-E0BD-4577-BBD9-E7A21CDFDC56}" type="datetime1">
              <a:rPr lang="fi-FI" smtClean="0"/>
              <a:pPr/>
              <a:t>23.3.2022</a:t>
            </a:fld>
            <a:endParaRPr lang="fi-F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A863EE8-A52B-409A-9FBC-73FBB2C250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</a:lstStyle>
          <a:p>
            <a:fld id="{D5C7B8F6-2765-465B-BF52-D1DF320C1AE3}" type="slidenum">
              <a:rPr lang="fi-FI" smtClean="0"/>
              <a:pPr/>
              <a:t>‹#›</a:t>
            </a:fld>
            <a:endParaRPr lang="fi-FI"/>
          </a:p>
        </p:txBody>
      </p:sp>
      <p:pic>
        <p:nvPicPr>
          <p:cNvPr id="9" name="Picture 8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3143DAC5-3469-4AA9-93A1-540B07AA9A9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D377B993-D7C1-4A56-8EFB-3F16258CA59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</a:lstStyle>
          <a:p>
            <a:pPr algn="ctr"/>
            <a:r>
              <a:rPr lang="fi-FI"/>
              <a:t>Alatunnist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8F563A7-F7AD-4616-9D1D-1AE82E267DA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755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Aloitusruutu_vaalean_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0976162-363D-4121-9E86-0E9C8710F1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1B535A-2832-40CC-8AEF-35E74D099E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116" y="2000187"/>
            <a:ext cx="7407164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915B170-1F73-4995-907A-3CE28F8F76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8116" y="4562158"/>
            <a:ext cx="7407164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pic>
        <p:nvPicPr>
          <p:cNvPr id="5" name="Picture 4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822A6C1A-8158-4EA3-ACD3-C75B761DA4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0902" y="2000187"/>
            <a:ext cx="3645475" cy="308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1847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_perus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CF713E9-B21F-4277-80A4-C06234167A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46CF40-C63D-4563-8757-6DC4E6BF2D21}" type="datetime1">
              <a:rPr lang="fi-FI" smtClean="0"/>
              <a:t>23.3.2022</a:t>
            </a:fld>
            <a:endParaRPr lang="fi-FI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955944B-F0B9-4271-96BA-E6828C38A7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6FA8EAF9-11C2-4317-B287-93C13C5473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668" y="487242"/>
            <a:ext cx="9569557" cy="61318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F52C2CD-20CF-4F2D-8C05-1ADF71215B4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3669" y="1299308"/>
            <a:ext cx="11205372" cy="47293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07BE2601-7626-456C-A31B-5113E25B12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algn="ctr"/>
            <a:r>
              <a:rPr lang="fi-FI"/>
              <a:t>Alatunniste</a:t>
            </a:r>
          </a:p>
        </p:txBody>
      </p:sp>
    </p:spTree>
    <p:extLst>
      <p:ext uri="{BB962C8B-B14F-4D97-AF65-F5344CB8AC3E}">
        <p14:creationId xmlns:p14="http://schemas.microsoft.com/office/powerpoint/2010/main" val="14385687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_perusteksti__iso_kontra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2D2F3555-CD9C-4A92-8B27-541D98696F7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9BE8E40-DB24-4417-9B9F-DD455E75BE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668" y="487242"/>
            <a:ext cx="9569557" cy="61318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02909738-C33F-4A34-AAC5-D8CC68D572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3669" y="1299308"/>
            <a:ext cx="11205372" cy="4729357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2pPr>
            <a:lvl3pPr marL="914400" indent="0">
              <a:buNone/>
              <a:defRPr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3pPr>
            <a:lvl4pPr marL="1371600" indent="0">
              <a:buNone/>
              <a:defRPr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4pPr>
            <a:lvl5pPr marL="1828800" indent="0">
              <a:buNone/>
              <a:defRPr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pic>
        <p:nvPicPr>
          <p:cNvPr id="15" name="Picture 14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D361B35F-DECC-405A-82A1-D429BC581D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sp>
        <p:nvSpPr>
          <p:cNvPr id="16" name="Date Placeholder 3">
            <a:extLst>
              <a:ext uri="{FF2B5EF4-FFF2-40B4-BE49-F238E27FC236}">
                <a16:creationId xmlns:a16="http://schemas.microsoft.com/office/drawing/2014/main" id="{BC13E34C-B036-4245-917E-99D28939B31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83495" y="6257748"/>
            <a:ext cx="1074804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</a:lstStyle>
          <a:p>
            <a:fld id="{8EA296CD-E0BD-4577-BBD9-E7A21CDFDC56}" type="datetime1">
              <a:rPr lang="fi-FI" smtClean="0"/>
              <a:pPr/>
              <a:t>23.3.2022</a:t>
            </a:fld>
            <a:endParaRPr lang="fi-FI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D950A81C-68BB-4D18-9483-4D08863A3F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75568" y="6257749"/>
            <a:ext cx="603473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</a:lstStyle>
          <a:p>
            <a:fld id="{D5C7B8F6-2765-465B-BF52-D1DF320C1AE3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1CC7B966-876A-403D-8087-11DB5C27EBE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</a:lstStyle>
          <a:p>
            <a:pPr algn="ctr"/>
            <a:r>
              <a:rPr lang="fi-FI"/>
              <a:t>Alatunnist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DF9320C-73B2-4D2C-8217-5358A9F1F23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5787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_palstaa_ranskalaiset-viiv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A6D75F-9311-4EB4-B38D-B4E0EE179A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8F0DA0-946D-445D-ADA1-18880E3EC9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FE38DE-4805-4D44-9515-01E7263DA904}" type="datetime1">
              <a:rPr lang="fi-FI" smtClean="0"/>
              <a:t>23.3.2022</a:t>
            </a:fld>
            <a:endParaRPr lang="fi-FI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506BF10-D4FF-4D46-9E24-ADC7CD834E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‹#›</a:t>
            </a:fld>
            <a:endParaRPr lang="fi-FI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A6BCEC4-81A3-42F5-B62D-4067B34C561A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73667" y="1299308"/>
            <a:ext cx="5475251" cy="472935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F9AF520A-DFB6-46AA-A90E-73856CB6FBB9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03790" y="1299307"/>
            <a:ext cx="5475251" cy="472935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B8DAE261-03D8-472D-B14F-C1DF423A713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algn="ctr"/>
            <a:r>
              <a:rPr lang="fi-FI"/>
              <a:t>Alatunniste</a:t>
            </a:r>
          </a:p>
        </p:txBody>
      </p:sp>
    </p:spTree>
    <p:extLst>
      <p:ext uri="{BB962C8B-B14F-4D97-AF65-F5344CB8AC3E}">
        <p14:creationId xmlns:p14="http://schemas.microsoft.com/office/powerpoint/2010/main" val="1251689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_palstaa_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A6D75F-9311-4EB4-B38D-B4E0EE179A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8F0DA0-946D-445D-ADA1-18880E3EC9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94D4C2-B25A-4281-8A5B-F03DB99CFAB5}" type="datetime1">
              <a:rPr lang="fi-FI" smtClean="0"/>
              <a:t>23.3.2022</a:t>
            </a:fld>
            <a:endParaRPr lang="fi-FI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506BF10-D4FF-4D46-9E24-ADC7CD834E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‹#›</a:t>
            </a:fld>
            <a:endParaRPr lang="fi-FI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62A0A1FC-CD35-4C4A-8830-0BF62F39662B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73667" y="1299308"/>
            <a:ext cx="5475251" cy="4729356"/>
          </a:xfrm>
        </p:spPr>
        <p:txBody>
          <a:bodyPr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40265E24-119F-4E75-B1BC-37B74F31F789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03790" y="1299307"/>
            <a:ext cx="5475251" cy="4729355"/>
          </a:xfrm>
        </p:spPr>
        <p:txBody>
          <a:bodyPr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52242108-567E-4E86-8B9F-64DA7D5726F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algn="ctr"/>
            <a:r>
              <a:rPr lang="fi-FI"/>
              <a:t>Alatunniste</a:t>
            </a:r>
          </a:p>
        </p:txBody>
      </p:sp>
    </p:spTree>
    <p:extLst>
      <p:ext uri="{BB962C8B-B14F-4D97-AF65-F5344CB8AC3E}">
        <p14:creationId xmlns:p14="http://schemas.microsoft.com/office/powerpoint/2010/main" val="3173339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liotsikko_valko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2BFC5D1-A434-41C0-A0AC-FA8C98998B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0B1729-6068-4313-B10B-F87937706A72}" type="datetime1">
              <a:rPr lang="fi-FI" smtClean="0"/>
              <a:t>23.3.2022</a:t>
            </a:fld>
            <a:endParaRPr lang="fi-F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32A87B9-8B1F-4CE1-B8BD-8B96315517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A1378340-C080-47C5-983F-3EEBF0D75E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2504504"/>
            <a:ext cx="10515600" cy="1500187"/>
          </a:xfrm>
        </p:spPr>
        <p:txBody>
          <a:bodyPr anchor="b">
            <a:normAutofit/>
          </a:bodyPr>
          <a:lstStyle>
            <a:lvl1pPr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E074EB3E-6D1F-4DA0-B8DD-662308A06C3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196271"/>
            <a:ext cx="10515600" cy="1500187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tx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E1F1CEFC-91A9-4473-A413-6D4A96A9FA7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algn="ctr"/>
            <a:r>
              <a:rPr lang="fi-FI"/>
              <a:t>Alatunniste</a:t>
            </a:r>
          </a:p>
        </p:txBody>
      </p:sp>
    </p:spTree>
    <p:extLst>
      <p:ext uri="{BB962C8B-B14F-4D97-AF65-F5344CB8AC3E}">
        <p14:creationId xmlns:p14="http://schemas.microsoft.com/office/powerpoint/2010/main" val="2259194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Valiotsikko_tumma_fuk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75B7F77-A7E2-4A93-AF37-79AB6652175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CB7582F-B7A6-4B6B-AF59-21885C1D6E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2504504"/>
            <a:ext cx="10515600" cy="1500187"/>
          </a:xfrm>
        </p:spPr>
        <p:txBody>
          <a:bodyPr anchor="b">
            <a:normAutofit/>
          </a:bodyPr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819DD4A-F530-4694-A831-4C3DFA62E2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196271"/>
            <a:ext cx="10515600" cy="1500187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0" name="Picture 9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33F4A4EE-00AB-4282-8B80-FFBD6A5975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0D9044F-FCBB-4029-9E23-FDB769B4715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8272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liotsikko_vaalea_fuk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DCDCB01C-A9CF-445C-9A1A-5DF3BC0618D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9D7BD377-A4BF-474C-8BF1-1CBA4AFD4B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2504504"/>
            <a:ext cx="10515600" cy="1500187"/>
          </a:xfrm>
        </p:spPr>
        <p:txBody>
          <a:bodyPr anchor="b">
            <a:normAutofit/>
          </a:bodyPr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E7CFCA1B-A982-4A80-B70C-437B77980F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196271"/>
            <a:ext cx="10515600" cy="1500187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7" name="Picture 6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BAD7213B-62A6-4498-8992-D0679296D30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039C038-5957-40E0-B1CF-CFF1D573AE0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0488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liotsikko_tumman_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FF15C473-637B-4F74-89B6-7827FF48489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A4837C24-9D16-44F1-9A88-B5B4D64290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2504504"/>
            <a:ext cx="10515600" cy="1500187"/>
          </a:xfrm>
        </p:spPr>
        <p:txBody>
          <a:bodyPr anchor="b">
            <a:normAutofit/>
          </a:bodyPr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A09BF18D-EBB2-47F4-A616-B0540DA6F8B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196271"/>
            <a:ext cx="10515600" cy="1500187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0" name="Picture 9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2050A66B-6ABF-42AA-92F8-DD58BCB477A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3798B9D-FEAE-4ECD-B0F4-4094482A86B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484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liotsikko_vaalean_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0D0DAA0E-1818-42FF-BB6C-93FD419E171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433585F5-0AE9-47A4-B6C9-1F5AA8AF39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2504504"/>
            <a:ext cx="10515600" cy="1500187"/>
          </a:xfrm>
        </p:spPr>
        <p:txBody>
          <a:bodyPr anchor="b">
            <a:normAutofit/>
          </a:bodyPr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1E078013-D062-4B74-BDD1-A7B1B92076E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196271"/>
            <a:ext cx="10515600" cy="1500187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8" name="Picture 7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4AA073B5-0C86-430C-876B-7CC72F534E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0000DCB-7161-46F8-98A1-B14A12FA314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4324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liotsikko_tumman_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019E351-BD38-4277-ACBC-BAB6F0B4ED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9AEBCB3B-E258-4D1D-BC07-970AA3335D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2504504"/>
            <a:ext cx="10515600" cy="1500187"/>
          </a:xfrm>
        </p:spPr>
        <p:txBody>
          <a:bodyPr anchor="b">
            <a:normAutofit/>
          </a:bodyPr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31E5CBF-528D-4C27-BD3D-52A728543F0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196271"/>
            <a:ext cx="10515600" cy="1500187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0" name="Picture 9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FB4ABDF5-105C-4805-AE9A-307C01A7B8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F3588A0-7B6A-460B-9E61-0B1E3C34B50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5659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oitusruutu_valkoinen_kuv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DC03B558-6B57-4598-B3E8-8733F4936D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83495" y="6257748"/>
            <a:ext cx="1074804" cy="365125"/>
          </a:xfrm>
        </p:spPr>
        <p:txBody>
          <a:bodyPr/>
          <a:lstStyle/>
          <a:p>
            <a:fld id="{54D43059-99C1-4944-9656-B1D921B30889}" type="datetime1">
              <a:rPr lang="fi-FI" smtClean="0"/>
              <a:t>23.3.2022</a:t>
            </a:fld>
            <a:endParaRPr lang="fi-F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0D928AD-5ED4-4BF6-839E-DB314089DA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75568" y="6257749"/>
            <a:ext cx="603473" cy="365125"/>
          </a:xfrm>
        </p:spPr>
        <p:txBody>
          <a:bodyPr/>
          <a:lstStyle/>
          <a:p>
            <a:fld id="{D5C7B8F6-2765-465B-BF52-D1DF320C1AE3}" type="slidenum">
              <a:rPr lang="fi-FI" smtClean="0"/>
              <a:t>‹#›</a:t>
            </a:fld>
            <a:endParaRPr lang="fi-FI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A4890241-FB3C-4BAC-8DB3-B8C212506C3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116" y="2000187"/>
            <a:ext cx="7407164" cy="2387600"/>
          </a:xfrm>
        </p:spPr>
        <p:txBody>
          <a:bodyPr anchor="b"/>
          <a:lstStyle>
            <a:lvl1pPr algn="l"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40014D83-E6A2-42CD-93B8-2757E8E6A3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8116" y="4562158"/>
            <a:ext cx="7407164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pic>
        <p:nvPicPr>
          <p:cNvPr id="16" name="Picture 15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6AB84055-9B6F-4667-A415-4141BF2F686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0902" y="2000187"/>
            <a:ext cx="3645475" cy="3089974"/>
          </a:xfrm>
          <a:prstGeom prst="rect">
            <a:avLst/>
          </a:prstGeom>
        </p:spPr>
      </p:pic>
      <p:pic>
        <p:nvPicPr>
          <p:cNvPr id="17" name="Picture 16" descr="A picture containing text&#10;&#10;Description automatically generated">
            <a:extLst>
              <a:ext uri="{FF2B5EF4-FFF2-40B4-BE49-F238E27FC236}">
                <a16:creationId xmlns:a16="http://schemas.microsoft.com/office/drawing/2014/main" id="{471F456E-EC89-42DF-8E0F-AF14097D32A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2994" y="1686720"/>
            <a:ext cx="3649916" cy="347472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9B27861D-71CD-4784-A6DE-E6BC1DB56222}"/>
              </a:ext>
            </a:extLst>
          </p:cNvPr>
          <p:cNvSpPr/>
          <p:nvPr userDrawn="1"/>
        </p:nvSpPr>
        <p:spPr>
          <a:xfrm>
            <a:off x="9983495" y="0"/>
            <a:ext cx="2208505" cy="161544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1244C952-ACC9-4870-B87B-DE9F734AC30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algn="ctr"/>
            <a:r>
              <a:rPr lang="fi-FI"/>
              <a:t>Alatunniste</a:t>
            </a:r>
          </a:p>
        </p:txBody>
      </p:sp>
    </p:spTree>
    <p:extLst>
      <p:ext uri="{BB962C8B-B14F-4D97-AF65-F5344CB8AC3E}">
        <p14:creationId xmlns:p14="http://schemas.microsoft.com/office/powerpoint/2010/main" val="3386449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liotsikko_vaalean_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3331C4A3-3B70-473F-87DC-97F62378B29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AEC2ADAF-8754-4CBB-B2D1-1331D17D25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2504504"/>
            <a:ext cx="10515600" cy="1500187"/>
          </a:xfrm>
        </p:spPr>
        <p:txBody>
          <a:bodyPr anchor="b">
            <a:normAutofit/>
          </a:bodyPr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B57B995B-39BF-44D4-988C-8C346A16CD9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196271"/>
            <a:ext cx="10515600" cy="1500187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8" name="Picture 7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3B8B122C-4305-4D0B-A2FA-D71C3E41AA5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514AF265-CBF7-48D7-9C80-7B57889C64C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9920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h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CF713E9-B21F-4277-80A4-C06234167A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760E5C-EBDA-4D35-835F-C4EA74A72D71}" type="datetime1">
              <a:rPr lang="fi-FI" smtClean="0"/>
              <a:t>23.3.2022</a:t>
            </a:fld>
            <a:endParaRPr lang="fi-FI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955944B-F0B9-4271-96BA-E6828C38A7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‹#›</a:t>
            </a:fld>
            <a:endParaRPr lang="fi-FI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A456CC2-9C69-4506-ADB6-C3431FE02F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algn="ctr"/>
            <a:r>
              <a:rPr lang="fi-FI"/>
              <a:t>Alatunniste</a:t>
            </a:r>
          </a:p>
        </p:txBody>
      </p:sp>
    </p:spTree>
    <p:extLst>
      <p:ext uri="{BB962C8B-B14F-4D97-AF65-F5344CB8AC3E}">
        <p14:creationId xmlns:p14="http://schemas.microsoft.com/office/powerpoint/2010/main" val="1956589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hja_kuv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CF713E9-B21F-4277-80A4-C06234167A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760E5C-EBDA-4D35-835F-C4EA74A72D71}" type="datetime1">
              <a:rPr lang="fi-FI" smtClean="0"/>
              <a:t>23.3.2022</a:t>
            </a:fld>
            <a:endParaRPr lang="fi-FI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955944B-F0B9-4271-96BA-E6828C38A7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‹#›</a:t>
            </a:fld>
            <a:endParaRPr lang="fi-FI"/>
          </a:p>
        </p:txBody>
      </p:sp>
      <p:pic>
        <p:nvPicPr>
          <p:cNvPr id="5" name="Picture 4" descr="A picture containing text&#10;&#10;Description automatically generated">
            <a:extLst>
              <a:ext uri="{FF2B5EF4-FFF2-40B4-BE49-F238E27FC236}">
                <a16:creationId xmlns:a16="http://schemas.microsoft.com/office/drawing/2014/main" id="{F2D2C7BF-71D4-48BF-9DD2-FE65AF4A265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7890" y="812800"/>
            <a:ext cx="5496219" cy="5232400"/>
          </a:xfrm>
          <a:prstGeom prst="rect">
            <a:avLst/>
          </a:prstGeom>
        </p:spPr>
      </p:pic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5E94213E-8A70-4CDD-9D43-D0A90C3E1C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algn="ctr"/>
            <a:r>
              <a:rPr lang="fi-FI"/>
              <a:t>Alatunniste</a:t>
            </a:r>
          </a:p>
        </p:txBody>
      </p:sp>
    </p:spTree>
    <p:extLst>
      <p:ext uri="{BB962C8B-B14F-4D97-AF65-F5344CB8AC3E}">
        <p14:creationId xmlns:p14="http://schemas.microsoft.com/office/powerpoint/2010/main" val="1098720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irakka_ja_sel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CF713E9-B21F-4277-80A4-C06234167A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8692EF-5F1C-49F9-BF88-7C49994B5FB9}" type="datetime1">
              <a:rPr lang="fi-FI" smtClean="0"/>
              <a:t>23.3.2022</a:t>
            </a:fld>
            <a:endParaRPr lang="fi-FI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955944B-F0B9-4271-96BA-E6828C38A7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‹#›</a:t>
            </a:fld>
            <a:endParaRPr lang="fi-FI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562D0573-C666-4B1A-9757-E53C856462BA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757841512"/>
              </p:ext>
            </p:extLst>
          </p:nvPr>
        </p:nvGraphicFramePr>
        <p:xfrm>
          <a:off x="850900" y="1314449"/>
          <a:ext cx="6329829" cy="45085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4F594614-D71D-4F1E-8614-54BFC47CAF7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7421563" y="1314449"/>
            <a:ext cx="3932237" cy="450850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58EF112B-7659-4965-8D51-4E3F618E5A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668" y="487242"/>
            <a:ext cx="9569557" cy="61318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28CB20B9-BF14-48B7-8FBF-55A893F501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algn="ctr"/>
            <a:r>
              <a:rPr lang="fi-FI"/>
              <a:t>Alatunniste</a:t>
            </a:r>
          </a:p>
        </p:txBody>
      </p:sp>
    </p:spTree>
    <p:extLst>
      <p:ext uri="{BB962C8B-B14F-4D97-AF65-F5344CB8AC3E}">
        <p14:creationId xmlns:p14="http://schemas.microsoft.com/office/powerpoint/2010/main" val="1353903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lkit_ja_sel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CF713E9-B21F-4277-80A4-C06234167A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ED8E3C-1D77-4DE1-BFA6-56BDED8E6778}" type="datetime1">
              <a:rPr lang="fi-FI" smtClean="0"/>
              <a:t>23.3.2022</a:t>
            </a:fld>
            <a:endParaRPr lang="fi-FI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955944B-F0B9-4271-96BA-E6828C38A7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‹#›</a:t>
            </a:fld>
            <a:endParaRPr lang="fi-FI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562D0573-C666-4B1A-9757-E53C856462BA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503591336"/>
              </p:ext>
            </p:extLst>
          </p:nvPr>
        </p:nvGraphicFramePr>
        <p:xfrm>
          <a:off x="850900" y="1314449"/>
          <a:ext cx="6311900" cy="45085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4F594614-D71D-4F1E-8614-54BFC47CAF7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7421563" y="1314449"/>
            <a:ext cx="3932237" cy="450850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0E089EDF-B6EA-42D8-ABC5-DC3F5127A9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668" y="487242"/>
            <a:ext cx="9569557" cy="61318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2B898320-2141-47A4-9BD0-C34010A7F7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algn="ctr"/>
            <a:r>
              <a:rPr lang="fi-FI"/>
              <a:t>Alatunniste</a:t>
            </a:r>
          </a:p>
        </p:txBody>
      </p:sp>
    </p:spTree>
    <p:extLst>
      <p:ext uri="{BB962C8B-B14F-4D97-AF65-F5344CB8AC3E}">
        <p14:creationId xmlns:p14="http://schemas.microsoft.com/office/powerpoint/2010/main" val="16431168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_tumma_fuks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92E092F-4C18-4469-8E83-6A834109ED1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2FAAFFF-5F2B-4165-A1EB-978BD4A568D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70956" y="1967371"/>
            <a:ext cx="7050087" cy="2291431"/>
          </a:xfrm>
        </p:spPr>
        <p:txBody>
          <a:bodyPr>
            <a:noAutofit/>
          </a:bodyPr>
          <a:lstStyle>
            <a:lvl1pPr marL="0" indent="0" algn="ctr">
              <a:buNone/>
              <a:defRPr sz="18000" spc="-15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5B32EA3-DA3E-406D-8BC9-DB57E97263D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70956" y="4416489"/>
            <a:ext cx="7050087" cy="1531937"/>
          </a:xfrm>
        </p:spPr>
        <p:txBody>
          <a:bodyPr>
            <a:normAutofit/>
          </a:bodyPr>
          <a:lstStyle>
            <a:lvl1pPr marL="0" indent="0" algn="ctr">
              <a:buNone/>
              <a:defRPr sz="4000" b="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9" name="Picture 8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66B60650-2462-4885-BDFA-965FD8BF28A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F420B20-D0B9-412C-A986-EE4A299C275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9780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_vaalea_fuks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F300340-25EF-4F66-8FC0-3524FCC23AB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A5AC8F70-F194-41C7-805B-D92734070F4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70956" y="1967371"/>
            <a:ext cx="7050087" cy="2291431"/>
          </a:xfrm>
        </p:spPr>
        <p:txBody>
          <a:bodyPr>
            <a:noAutofit/>
          </a:bodyPr>
          <a:lstStyle>
            <a:lvl1pPr marL="0" indent="0" algn="ctr">
              <a:buNone/>
              <a:defRPr sz="18000" spc="-15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2FE8445C-4D7C-459B-A750-14E5D4ADDF7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70956" y="4416489"/>
            <a:ext cx="7050087" cy="1531937"/>
          </a:xfrm>
        </p:spPr>
        <p:txBody>
          <a:bodyPr>
            <a:normAutofit/>
          </a:bodyPr>
          <a:lstStyle>
            <a:lvl1pPr marL="0" indent="0" algn="ctr">
              <a:buNone/>
              <a:defRPr sz="4000" b="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9" name="Picture 8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0D5E3786-1E77-41FF-ACC3-2C07F23E9A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7512402-4326-4965-85DC-B1C3CB99F22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45080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_tumman_vihreä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E053C6DA-FD50-4615-B8FB-FF833B6B874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D8D3088-BD2C-4F0D-AC59-B1D90F282A1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70956" y="1967371"/>
            <a:ext cx="7050087" cy="2291431"/>
          </a:xfrm>
        </p:spPr>
        <p:txBody>
          <a:bodyPr>
            <a:noAutofit/>
          </a:bodyPr>
          <a:lstStyle>
            <a:lvl1pPr marL="0" indent="0" algn="ctr">
              <a:buNone/>
              <a:defRPr sz="18000" spc="-15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729D64E-D9FD-4A72-A218-5A46A2A9E00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70956" y="4416489"/>
            <a:ext cx="7050087" cy="1531937"/>
          </a:xfrm>
        </p:spPr>
        <p:txBody>
          <a:bodyPr>
            <a:normAutofit/>
          </a:bodyPr>
          <a:lstStyle>
            <a:lvl1pPr marL="0" indent="0" algn="ctr">
              <a:buNone/>
              <a:defRPr sz="4000" b="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3" name="Picture 12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E2367D72-1261-4F4B-95BA-C217F9F6FE4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7B66ACCA-7C79-452D-AC6D-E7CE0118EBB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8297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_vaalean_vihreä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5FDCB13-2229-4EDE-9601-A214D628E3E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10A3972D-8B49-48B9-A933-077AD84C2B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70956" y="1967371"/>
            <a:ext cx="7050087" cy="2291431"/>
          </a:xfrm>
        </p:spPr>
        <p:txBody>
          <a:bodyPr>
            <a:noAutofit/>
          </a:bodyPr>
          <a:lstStyle>
            <a:lvl1pPr marL="0" indent="0" algn="ctr">
              <a:buNone/>
              <a:defRPr sz="18000" spc="-15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0144724E-5CC4-417F-B397-D5FCDD27933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70956" y="4416489"/>
            <a:ext cx="7050087" cy="1531937"/>
          </a:xfrm>
        </p:spPr>
        <p:txBody>
          <a:bodyPr>
            <a:normAutofit/>
          </a:bodyPr>
          <a:lstStyle>
            <a:lvl1pPr marL="0" indent="0" algn="ctr">
              <a:buNone/>
              <a:defRPr sz="4000" b="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0" name="Picture 9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0E4A42AB-E5D2-487E-A666-3E81D0EC4CF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95806FA-A7F8-4680-B00C-DC11DE1C9C7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0896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_tumman_sinin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D6DD7C14-1622-4EAE-AD65-6E914DFD8C1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09808EF1-5D0E-43DC-80F8-12870B32C9E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70956" y="1967371"/>
            <a:ext cx="7050087" cy="2291431"/>
          </a:xfrm>
        </p:spPr>
        <p:txBody>
          <a:bodyPr>
            <a:noAutofit/>
          </a:bodyPr>
          <a:lstStyle>
            <a:lvl1pPr marL="0" indent="0" algn="ctr">
              <a:buNone/>
              <a:defRPr sz="18000" spc="-15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10962C8-DE63-43D8-8942-0B0108C26B1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70956" y="4416489"/>
            <a:ext cx="7050087" cy="1531937"/>
          </a:xfrm>
        </p:spPr>
        <p:txBody>
          <a:bodyPr>
            <a:normAutofit/>
          </a:bodyPr>
          <a:lstStyle>
            <a:lvl1pPr marL="0" indent="0" algn="ctr">
              <a:buNone/>
              <a:defRPr sz="4000" b="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3" name="Picture 12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2D6D991B-5BB1-4C8D-8A99-46E6234F7EF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63E06A6A-500D-4A81-A3A7-C636B9A8F49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6021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Aloitusruutu_tumma_fuksia_kuv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0976162-363D-4121-9E86-0E9C8710F1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1B535A-2832-40CC-8AEF-35E74D099E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8116" y="2000187"/>
            <a:ext cx="7407164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915B170-1F73-4995-907A-3CE28F8F76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8116" y="4562158"/>
            <a:ext cx="7407164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pic>
        <p:nvPicPr>
          <p:cNvPr id="6" name="Picture 5" descr="A picture containing text, blackboard&#10;&#10;Description automatically generated">
            <a:extLst>
              <a:ext uri="{FF2B5EF4-FFF2-40B4-BE49-F238E27FC236}">
                <a16:creationId xmlns:a16="http://schemas.microsoft.com/office/drawing/2014/main" id="{5D0F3E8B-B9D6-401B-89DB-DECA733FA2E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2876" y="1691640"/>
            <a:ext cx="3649916" cy="3474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5456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_vaalean_sinin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6AD99560-B70C-4CB4-8E0D-135C4B4F0D2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2F4CE26A-6975-4088-8C1C-2779DB91995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70956" y="1967371"/>
            <a:ext cx="7050087" cy="2291431"/>
          </a:xfrm>
        </p:spPr>
        <p:txBody>
          <a:bodyPr>
            <a:noAutofit/>
          </a:bodyPr>
          <a:lstStyle>
            <a:lvl1pPr marL="0" indent="0" algn="ctr">
              <a:buNone/>
              <a:defRPr sz="18000" spc="-15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A4292A37-662E-4DBC-A495-79057914CC1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70956" y="4416489"/>
            <a:ext cx="7050087" cy="1531937"/>
          </a:xfrm>
        </p:spPr>
        <p:txBody>
          <a:bodyPr>
            <a:normAutofit/>
          </a:bodyPr>
          <a:lstStyle>
            <a:lvl1pPr marL="0" indent="0" algn="ctr">
              <a:buNone/>
              <a:defRPr sz="4000" b="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0" name="Picture 9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FAF58029-5C3F-4E73-9857-1AC430FAE03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472B7A3-2663-4A44-A26A-8324E29C4C9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6787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inaus_tumma_fuks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3812B7F-03F8-47AC-A428-BF026456F91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2B7FEA2D-6A52-47ED-8DFD-956DBBF7B7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2737" y="3069240"/>
            <a:ext cx="9026525" cy="2264569"/>
          </a:xfrm>
        </p:spPr>
        <p:txBody>
          <a:bodyPr anchor="t">
            <a:normAutofit/>
          </a:bodyPr>
          <a:lstStyle>
            <a:lvl1pPr algn="ctr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pic>
        <p:nvPicPr>
          <p:cNvPr id="3" name="Graphic 2" descr="Closed quotation mark">
            <a:extLst>
              <a:ext uri="{FF2B5EF4-FFF2-40B4-BE49-F238E27FC236}">
                <a16:creationId xmlns:a16="http://schemas.microsoft.com/office/drawing/2014/main" id="{CFBDBB6F-3A4D-4629-93D3-14502AE8EC4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3375" y="225439"/>
            <a:ext cx="4206846" cy="4206846"/>
          </a:xfrm>
          <a:prstGeom prst="rect">
            <a:avLst/>
          </a:prstGeom>
        </p:spPr>
      </p:pic>
      <p:pic>
        <p:nvPicPr>
          <p:cNvPr id="12" name="Graphic 11" descr="Closed quotation mark">
            <a:extLst>
              <a:ext uri="{FF2B5EF4-FFF2-40B4-BE49-F238E27FC236}">
                <a16:creationId xmlns:a16="http://schemas.microsoft.com/office/drawing/2014/main" id="{FDCD013D-750B-40EC-B3FD-30866C557B3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0800000">
            <a:off x="7877175" y="3230386"/>
            <a:ext cx="4206846" cy="4206846"/>
          </a:xfrm>
          <a:prstGeom prst="rect">
            <a:avLst/>
          </a:prstGeom>
        </p:spPr>
      </p:pic>
      <p:pic>
        <p:nvPicPr>
          <p:cNvPr id="8" name="Picture 7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2948B9A5-346C-4658-B145-33839B12055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C84AE66-04F3-4FC4-827B-3D825FC2FB4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1044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inaus_vaalea_fuks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63B5C1A-13B1-4DF6-9D59-D74F0DD9A7C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0D7ED0F-9041-499A-921C-AEFDAC4F82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2737" y="3069240"/>
            <a:ext cx="9026525" cy="2264569"/>
          </a:xfrm>
        </p:spPr>
        <p:txBody>
          <a:bodyPr anchor="t">
            <a:normAutofit/>
          </a:bodyPr>
          <a:lstStyle>
            <a:lvl1pPr algn="ctr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pic>
        <p:nvPicPr>
          <p:cNvPr id="8" name="Graphic 7" descr="Closed quotation mark">
            <a:extLst>
              <a:ext uri="{FF2B5EF4-FFF2-40B4-BE49-F238E27FC236}">
                <a16:creationId xmlns:a16="http://schemas.microsoft.com/office/drawing/2014/main" id="{2DF3ECAD-51F9-426B-BA2A-A31D15606BC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3375" y="225439"/>
            <a:ext cx="4206846" cy="4206846"/>
          </a:xfrm>
          <a:prstGeom prst="rect">
            <a:avLst/>
          </a:prstGeom>
        </p:spPr>
      </p:pic>
      <p:pic>
        <p:nvPicPr>
          <p:cNvPr id="9" name="Graphic 8" descr="Closed quotation mark">
            <a:extLst>
              <a:ext uri="{FF2B5EF4-FFF2-40B4-BE49-F238E27FC236}">
                <a16:creationId xmlns:a16="http://schemas.microsoft.com/office/drawing/2014/main" id="{054D988B-BD2E-4868-BD0C-02864267099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0800000">
            <a:off x="7877175" y="3230386"/>
            <a:ext cx="4206846" cy="4206846"/>
          </a:xfrm>
          <a:prstGeom prst="rect">
            <a:avLst/>
          </a:prstGeom>
        </p:spPr>
      </p:pic>
      <p:pic>
        <p:nvPicPr>
          <p:cNvPr id="10" name="Picture 9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3E6C6386-945C-47E0-A075-7592821D610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BB7FA65-2EFB-4FAE-93DF-18B27B9B5D2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2684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inaus_tumman_vihreä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AA28C2B3-EED9-4BDF-AC6A-C2BFC1453DA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D605A358-014F-48BC-99D7-1F4227F7FE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2737" y="3069240"/>
            <a:ext cx="9026525" cy="2264569"/>
          </a:xfrm>
        </p:spPr>
        <p:txBody>
          <a:bodyPr anchor="t">
            <a:normAutofit/>
          </a:bodyPr>
          <a:lstStyle>
            <a:lvl1pPr algn="ctr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pic>
        <p:nvPicPr>
          <p:cNvPr id="8" name="Graphic 7" descr="Closed quotation mark">
            <a:extLst>
              <a:ext uri="{FF2B5EF4-FFF2-40B4-BE49-F238E27FC236}">
                <a16:creationId xmlns:a16="http://schemas.microsoft.com/office/drawing/2014/main" id="{A0E55188-C435-4ADB-89AF-C484D0CC348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3375" y="225439"/>
            <a:ext cx="4206846" cy="4206846"/>
          </a:xfrm>
          <a:prstGeom prst="rect">
            <a:avLst/>
          </a:prstGeom>
        </p:spPr>
      </p:pic>
      <p:pic>
        <p:nvPicPr>
          <p:cNvPr id="9" name="Graphic 8" descr="Closed quotation mark">
            <a:extLst>
              <a:ext uri="{FF2B5EF4-FFF2-40B4-BE49-F238E27FC236}">
                <a16:creationId xmlns:a16="http://schemas.microsoft.com/office/drawing/2014/main" id="{5CC0672F-9201-45FA-9419-DF8790A0BC2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0800000">
            <a:off x="7877175" y="3230386"/>
            <a:ext cx="4206846" cy="4206846"/>
          </a:xfrm>
          <a:prstGeom prst="rect">
            <a:avLst/>
          </a:prstGeom>
        </p:spPr>
      </p:pic>
      <p:pic>
        <p:nvPicPr>
          <p:cNvPr id="10" name="Picture 9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FE4D2E0D-6F0C-4473-9A14-F0C36B7C2D2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F8D27C9-8603-41B8-86B2-143B00789D6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24097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inaus_vaalean_vihreä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4D3C9BD-E553-4532-8F1B-692757DFFA3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2B7FEA2D-6A52-47ED-8DFD-956DBBF7B7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2737" y="3069240"/>
            <a:ext cx="9026525" cy="2264569"/>
          </a:xfrm>
        </p:spPr>
        <p:txBody>
          <a:bodyPr anchor="t">
            <a:normAutofit/>
          </a:bodyPr>
          <a:lstStyle>
            <a:lvl1pPr algn="ctr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pic>
        <p:nvPicPr>
          <p:cNvPr id="3" name="Graphic 2" descr="Closed quotation mark">
            <a:extLst>
              <a:ext uri="{FF2B5EF4-FFF2-40B4-BE49-F238E27FC236}">
                <a16:creationId xmlns:a16="http://schemas.microsoft.com/office/drawing/2014/main" id="{CFBDBB6F-3A4D-4629-93D3-14502AE8EC4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3375" y="225439"/>
            <a:ext cx="4206846" cy="4206846"/>
          </a:xfrm>
          <a:prstGeom prst="rect">
            <a:avLst/>
          </a:prstGeom>
        </p:spPr>
      </p:pic>
      <p:pic>
        <p:nvPicPr>
          <p:cNvPr id="12" name="Graphic 11" descr="Closed quotation mark">
            <a:extLst>
              <a:ext uri="{FF2B5EF4-FFF2-40B4-BE49-F238E27FC236}">
                <a16:creationId xmlns:a16="http://schemas.microsoft.com/office/drawing/2014/main" id="{FDCD013D-750B-40EC-B3FD-30866C557B3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0800000">
            <a:off x="7877175" y="3230386"/>
            <a:ext cx="4206846" cy="4206846"/>
          </a:xfrm>
          <a:prstGeom prst="rect">
            <a:avLst/>
          </a:prstGeom>
        </p:spPr>
      </p:pic>
      <p:pic>
        <p:nvPicPr>
          <p:cNvPr id="6" name="Picture 5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F5C3D7A0-CEE8-4810-AC66-8EEF47827F7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00A7BB2D-8403-4821-A23A-A7F9980B163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227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inaus_tumman_sinin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32F164F4-88DD-4DB6-A969-CF67CBF9190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0D7ED0F-9041-499A-921C-AEFDAC4F82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2737" y="3069240"/>
            <a:ext cx="9026525" cy="2264569"/>
          </a:xfrm>
        </p:spPr>
        <p:txBody>
          <a:bodyPr anchor="t">
            <a:normAutofit/>
          </a:bodyPr>
          <a:lstStyle>
            <a:lvl1pPr algn="ctr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pic>
        <p:nvPicPr>
          <p:cNvPr id="8" name="Graphic 7" descr="Closed quotation mark">
            <a:extLst>
              <a:ext uri="{FF2B5EF4-FFF2-40B4-BE49-F238E27FC236}">
                <a16:creationId xmlns:a16="http://schemas.microsoft.com/office/drawing/2014/main" id="{2DF3ECAD-51F9-426B-BA2A-A31D15606BC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3375" y="225439"/>
            <a:ext cx="4206846" cy="4206846"/>
          </a:xfrm>
          <a:prstGeom prst="rect">
            <a:avLst/>
          </a:prstGeom>
        </p:spPr>
      </p:pic>
      <p:pic>
        <p:nvPicPr>
          <p:cNvPr id="9" name="Graphic 8" descr="Closed quotation mark">
            <a:extLst>
              <a:ext uri="{FF2B5EF4-FFF2-40B4-BE49-F238E27FC236}">
                <a16:creationId xmlns:a16="http://schemas.microsoft.com/office/drawing/2014/main" id="{054D988B-BD2E-4868-BD0C-02864267099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0800000">
            <a:off x="7877175" y="3230386"/>
            <a:ext cx="4206846" cy="4206846"/>
          </a:xfrm>
          <a:prstGeom prst="rect">
            <a:avLst/>
          </a:prstGeom>
        </p:spPr>
      </p:pic>
      <p:pic>
        <p:nvPicPr>
          <p:cNvPr id="6" name="Picture 5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9BD1C4AC-F731-4E7C-B6EF-52E5B96F5D8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EB6F2C5-68ED-495F-AA1D-095F742BE87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9473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inaus_vaalean_sinin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1ACB5D14-0A9E-4CB4-A060-CF81F97CF1E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D605A358-014F-48BC-99D7-1F4227F7FE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2737" y="3069240"/>
            <a:ext cx="9026525" cy="2264569"/>
          </a:xfrm>
        </p:spPr>
        <p:txBody>
          <a:bodyPr anchor="t">
            <a:normAutofit/>
          </a:bodyPr>
          <a:lstStyle>
            <a:lvl1pPr algn="ctr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pic>
        <p:nvPicPr>
          <p:cNvPr id="8" name="Graphic 7" descr="Closed quotation mark">
            <a:extLst>
              <a:ext uri="{FF2B5EF4-FFF2-40B4-BE49-F238E27FC236}">
                <a16:creationId xmlns:a16="http://schemas.microsoft.com/office/drawing/2014/main" id="{A0E55188-C435-4ADB-89AF-C484D0CC348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3375" y="225439"/>
            <a:ext cx="4206846" cy="4206846"/>
          </a:xfrm>
          <a:prstGeom prst="rect">
            <a:avLst/>
          </a:prstGeom>
        </p:spPr>
      </p:pic>
      <p:pic>
        <p:nvPicPr>
          <p:cNvPr id="9" name="Graphic 8" descr="Closed quotation mark">
            <a:extLst>
              <a:ext uri="{FF2B5EF4-FFF2-40B4-BE49-F238E27FC236}">
                <a16:creationId xmlns:a16="http://schemas.microsoft.com/office/drawing/2014/main" id="{5CC0672F-9201-45FA-9419-DF8790A0BC2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0800000">
            <a:off x="7877175" y="3230386"/>
            <a:ext cx="4206846" cy="4206846"/>
          </a:xfrm>
          <a:prstGeom prst="rect">
            <a:avLst/>
          </a:prstGeom>
        </p:spPr>
      </p:pic>
      <p:pic>
        <p:nvPicPr>
          <p:cNvPr id="6" name="Picture 5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6C7CBFF0-AFA3-42D3-93F0-41E668754AB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8D0B143-9B6A-4DE3-8C57-E3A879D06BC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5872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alto_pals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143383C-D902-4359-B134-36B4C4F73CF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8156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8B999F5-4813-427F-A4E4-5335441DBDA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160494"/>
            <a:ext cx="3932237" cy="3708494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000F1A4-B81E-45E1-9606-07525FFE27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9F7C74-FDAC-47C9-85FF-A93A4A77D2DE}" type="datetime1">
              <a:rPr lang="fi-FI" smtClean="0"/>
              <a:t>23.3.2022</a:t>
            </a:fld>
            <a:endParaRPr lang="fi-FI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840F95E-9FAF-473A-8740-38C0D6F755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‹#›</a:t>
            </a:fld>
            <a:endParaRPr lang="fi-FI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D4EB64A9-0753-493D-931D-D429FE2A22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987425"/>
            <a:ext cx="3932237" cy="965199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27897217-BD8C-4F57-9294-7DC932179A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algn="ctr"/>
            <a:r>
              <a:rPr lang="fi-FI"/>
              <a:t>Alatunniste</a:t>
            </a:r>
          </a:p>
        </p:txBody>
      </p:sp>
    </p:spTree>
    <p:extLst>
      <p:ext uri="{BB962C8B-B14F-4D97-AF65-F5344CB8AC3E}">
        <p14:creationId xmlns:p14="http://schemas.microsoft.com/office/powerpoint/2010/main" val="3132965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oli_sivua_kuva_valko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0E54EFB4-12B2-4DFE-9F2E-3D2DD7CA7A1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7288306" y="0"/>
            <a:ext cx="4903694" cy="6858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i-FI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96869CB-89D0-4DA9-89A5-3150AD97AD9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160494"/>
            <a:ext cx="6036141" cy="3708494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309055EB-5B06-42A3-A3F7-9558E538E1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987425"/>
            <a:ext cx="6036141" cy="965199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pic>
        <p:nvPicPr>
          <p:cNvPr id="11" name="Picture 10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93E22456-AB22-4CB4-9C0E-E7E2302CA3D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1968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oli_sivua_kuva_tumma_fuk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54224DE-DE84-4CDB-804C-D62F8DBAD4A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636513FB-22B8-45CF-AEF7-A64E2EBADB8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7288306" y="0"/>
            <a:ext cx="4903694" cy="6858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689C3558-BCB4-4A57-AFB2-95ED2FE2816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160494"/>
            <a:ext cx="6036141" cy="3708494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1pPr>
            <a:lvl2pPr marL="457200" indent="0">
              <a:buNone/>
              <a:defRPr sz="14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2pPr>
            <a:lvl3pPr marL="914400" indent="0">
              <a:buNone/>
              <a:defRPr sz="12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  <a:latin typeface="Poppins ExtraBold" panose="00000900000000000000" pitchFamily="2" charset="0"/>
                <a:cs typeface="Poppins ExtraBold" panose="00000900000000000000" pitchFamily="2" charset="0"/>
              </a:defRPr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E68424A2-D2D4-4E4F-9B59-69E589A8D3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987425"/>
            <a:ext cx="6036141" cy="965199"/>
          </a:xfrm>
        </p:spPr>
        <p:txBody>
          <a:bodyPr anchor="b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pic>
        <p:nvPicPr>
          <p:cNvPr id="15" name="Picture 14" descr="A picture containing building, clipart&#10;&#10;Description automatically generated">
            <a:extLst>
              <a:ext uri="{FF2B5EF4-FFF2-40B4-BE49-F238E27FC236}">
                <a16:creationId xmlns:a16="http://schemas.microsoft.com/office/drawing/2014/main" id="{3FEABE71-E81F-4523-B5C3-B7A2E66D3CB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1540" y="428117"/>
            <a:ext cx="835122" cy="70786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C418F9D-13A3-4626-9E3D-49D09D588BF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9553" y="6242935"/>
            <a:ext cx="230578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2782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theme" Target="../theme/theme1.xml"/><Relationship Id="rId6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oleObject" Target="../embeddings/oleObject1.bin"/><Relationship Id="rId61" Type="http://schemas.openxmlformats.org/officeDocument/2006/relationships/image" Target="../media/image4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image" Target="../media/image3.w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6.xml"/><Relationship Id="rId18" Type="http://schemas.openxmlformats.org/officeDocument/2006/relationships/slideLayout" Target="../slideLayouts/slideLayout71.xml"/><Relationship Id="rId26" Type="http://schemas.openxmlformats.org/officeDocument/2006/relationships/slideLayout" Target="../slideLayouts/slideLayout79.xml"/><Relationship Id="rId39" Type="http://schemas.openxmlformats.org/officeDocument/2006/relationships/slideLayout" Target="../slideLayouts/slideLayout92.xml"/><Relationship Id="rId21" Type="http://schemas.openxmlformats.org/officeDocument/2006/relationships/slideLayout" Target="../slideLayouts/slideLayout74.xml"/><Relationship Id="rId34" Type="http://schemas.openxmlformats.org/officeDocument/2006/relationships/slideLayout" Target="../slideLayouts/slideLayout87.xml"/><Relationship Id="rId42" Type="http://schemas.openxmlformats.org/officeDocument/2006/relationships/slideLayout" Target="../slideLayouts/slideLayout95.xml"/><Relationship Id="rId47" Type="http://schemas.openxmlformats.org/officeDocument/2006/relationships/slideLayout" Target="../slideLayouts/slideLayout100.xml"/><Relationship Id="rId50" Type="http://schemas.openxmlformats.org/officeDocument/2006/relationships/slideLayout" Target="../slideLayouts/slideLayout103.xml"/><Relationship Id="rId55" Type="http://schemas.openxmlformats.org/officeDocument/2006/relationships/vmlDrawing" Target="../drawings/vmlDrawing2.vml"/><Relationship Id="rId7" Type="http://schemas.openxmlformats.org/officeDocument/2006/relationships/slideLayout" Target="../slideLayouts/slideLayout60.xml"/><Relationship Id="rId12" Type="http://schemas.openxmlformats.org/officeDocument/2006/relationships/slideLayout" Target="../slideLayouts/slideLayout65.xml"/><Relationship Id="rId17" Type="http://schemas.openxmlformats.org/officeDocument/2006/relationships/slideLayout" Target="../slideLayouts/slideLayout70.xml"/><Relationship Id="rId25" Type="http://schemas.openxmlformats.org/officeDocument/2006/relationships/slideLayout" Target="../slideLayouts/slideLayout78.xml"/><Relationship Id="rId33" Type="http://schemas.openxmlformats.org/officeDocument/2006/relationships/slideLayout" Target="../slideLayouts/slideLayout86.xml"/><Relationship Id="rId38" Type="http://schemas.openxmlformats.org/officeDocument/2006/relationships/slideLayout" Target="../slideLayouts/slideLayout91.xml"/><Relationship Id="rId46" Type="http://schemas.openxmlformats.org/officeDocument/2006/relationships/slideLayout" Target="../slideLayouts/slideLayout99.xml"/><Relationship Id="rId59" Type="http://schemas.openxmlformats.org/officeDocument/2006/relationships/image" Target="../media/image5.png"/><Relationship Id="rId2" Type="http://schemas.openxmlformats.org/officeDocument/2006/relationships/slideLayout" Target="../slideLayouts/slideLayout55.xml"/><Relationship Id="rId16" Type="http://schemas.openxmlformats.org/officeDocument/2006/relationships/slideLayout" Target="../slideLayouts/slideLayout69.xml"/><Relationship Id="rId20" Type="http://schemas.openxmlformats.org/officeDocument/2006/relationships/slideLayout" Target="../slideLayouts/slideLayout73.xml"/><Relationship Id="rId29" Type="http://schemas.openxmlformats.org/officeDocument/2006/relationships/slideLayout" Target="../slideLayouts/slideLayout82.xml"/><Relationship Id="rId41" Type="http://schemas.openxmlformats.org/officeDocument/2006/relationships/slideLayout" Target="../slideLayouts/slideLayout94.xml"/><Relationship Id="rId54" Type="http://schemas.openxmlformats.org/officeDocument/2006/relationships/theme" Target="../theme/theme2.xml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1" Type="http://schemas.openxmlformats.org/officeDocument/2006/relationships/slideLayout" Target="../slideLayouts/slideLayout64.xml"/><Relationship Id="rId24" Type="http://schemas.openxmlformats.org/officeDocument/2006/relationships/slideLayout" Target="../slideLayouts/slideLayout77.xml"/><Relationship Id="rId32" Type="http://schemas.openxmlformats.org/officeDocument/2006/relationships/slideLayout" Target="../slideLayouts/slideLayout85.xml"/><Relationship Id="rId37" Type="http://schemas.openxmlformats.org/officeDocument/2006/relationships/slideLayout" Target="../slideLayouts/slideLayout90.xml"/><Relationship Id="rId40" Type="http://schemas.openxmlformats.org/officeDocument/2006/relationships/slideLayout" Target="../slideLayouts/slideLayout93.xml"/><Relationship Id="rId45" Type="http://schemas.openxmlformats.org/officeDocument/2006/relationships/slideLayout" Target="../slideLayouts/slideLayout98.xml"/><Relationship Id="rId53" Type="http://schemas.openxmlformats.org/officeDocument/2006/relationships/slideLayout" Target="../slideLayouts/slideLayout106.xml"/><Relationship Id="rId58" Type="http://schemas.openxmlformats.org/officeDocument/2006/relationships/image" Target="../media/image1.emf"/><Relationship Id="rId5" Type="http://schemas.openxmlformats.org/officeDocument/2006/relationships/slideLayout" Target="../slideLayouts/slideLayout58.xml"/><Relationship Id="rId15" Type="http://schemas.openxmlformats.org/officeDocument/2006/relationships/slideLayout" Target="../slideLayouts/slideLayout68.xml"/><Relationship Id="rId23" Type="http://schemas.openxmlformats.org/officeDocument/2006/relationships/slideLayout" Target="../slideLayouts/slideLayout76.xml"/><Relationship Id="rId28" Type="http://schemas.openxmlformats.org/officeDocument/2006/relationships/slideLayout" Target="../slideLayouts/slideLayout81.xml"/><Relationship Id="rId36" Type="http://schemas.openxmlformats.org/officeDocument/2006/relationships/slideLayout" Target="../slideLayouts/slideLayout89.xml"/><Relationship Id="rId49" Type="http://schemas.openxmlformats.org/officeDocument/2006/relationships/slideLayout" Target="../slideLayouts/slideLayout102.xml"/><Relationship Id="rId57" Type="http://schemas.openxmlformats.org/officeDocument/2006/relationships/oleObject" Target="../embeddings/oleObject2.bin"/><Relationship Id="rId10" Type="http://schemas.openxmlformats.org/officeDocument/2006/relationships/slideLayout" Target="../slideLayouts/slideLayout63.xml"/><Relationship Id="rId19" Type="http://schemas.openxmlformats.org/officeDocument/2006/relationships/slideLayout" Target="../slideLayouts/slideLayout72.xml"/><Relationship Id="rId31" Type="http://schemas.openxmlformats.org/officeDocument/2006/relationships/slideLayout" Target="../slideLayouts/slideLayout84.xml"/><Relationship Id="rId44" Type="http://schemas.openxmlformats.org/officeDocument/2006/relationships/slideLayout" Target="../slideLayouts/slideLayout97.xml"/><Relationship Id="rId52" Type="http://schemas.openxmlformats.org/officeDocument/2006/relationships/slideLayout" Target="../slideLayouts/slideLayout105.xml"/><Relationship Id="rId60" Type="http://schemas.openxmlformats.org/officeDocument/2006/relationships/image" Target="../media/image13.png"/><Relationship Id="rId4" Type="http://schemas.openxmlformats.org/officeDocument/2006/relationships/slideLayout" Target="../slideLayouts/slideLayout57.xml"/><Relationship Id="rId9" Type="http://schemas.openxmlformats.org/officeDocument/2006/relationships/slideLayout" Target="../slideLayouts/slideLayout62.xml"/><Relationship Id="rId14" Type="http://schemas.openxmlformats.org/officeDocument/2006/relationships/slideLayout" Target="../slideLayouts/slideLayout67.xml"/><Relationship Id="rId22" Type="http://schemas.openxmlformats.org/officeDocument/2006/relationships/slideLayout" Target="../slideLayouts/slideLayout75.xml"/><Relationship Id="rId27" Type="http://schemas.openxmlformats.org/officeDocument/2006/relationships/slideLayout" Target="../slideLayouts/slideLayout80.xml"/><Relationship Id="rId30" Type="http://schemas.openxmlformats.org/officeDocument/2006/relationships/slideLayout" Target="../slideLayouts/slideLayout83.xml"/><Relationship Id="rId35" Type="http://schemas.openxmlformats.org/officeDocument/2006/relationships/slideLayout" Target="../slideLayouts/slideLayout88.xml"/><Relationship Id="rId43" Type="http://schemas.openxmlformats.org/officeDocument/2006/relationships/slideLayout" Target="../slideLayouts/slideLayout96.xml"/><Relationship Id="rId48" Type="http://schemas.openxmlformats.org/officeDocument/2006/relationships/slideLayout" Target="../slideLayouts/slideLayout101.xml"/><Relationship Id="rId56" Type="http://schemas.openxmlformats.org/officeDocument/2006/relationships/tags" Target="../tags/tag3.xml"/><Relationship Id="rId8" Type="http://schemas.openxmlformats.org/officeDocument/2006/relationships/slideLayout" Target="../slideLayouts/slideLayout61.xml"/><Relationship Id="rId51" Type="http://schemas.openxmlformats.org/officeDocument/2006/relationships/slideLayout" Target="../slideLayouts/slideLayout104.xml"/><Relationship Id="rId3" Type="http://schemas.openxmlformats.org/officeDocument/2006/relationships/slideLayout" Target="../slideLayouts/slideLayout5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738D8D7-A462-4C8D-9448-EFFAD86462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6"/>
            </p:custDataLst>
            <p:extLst>
              <p:ext uri="{D42A27DB-BD31-4B8C-83A1-F6EECF244321}">
                <p14:modId xmlns:p14="http://schemas.microsoft.com/office/powerpoint/2010/main" val="19908484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" name="think-cell Slide" r:id="rId57" imgW="592" imgH="591" progId="TCLayout.ActiveDocument.1">
                  <p:embed/>
                </p:oleObj>
              </mc:Choice>
              <mc:Fallback>
                <p:oleObj name="think-cell Slide" r:id="rId5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738D8D7-A462-4C8D-9448-EFFAD86462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34675C3-A68A-494B-A887-BB4F9C5959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668" y="487242"/>
            <a:ext cx="9569557" cy="61318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124F11B-CC2F-4841-B144-357C828B93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73669" y="1299308"/>
            <a:ext cx="11205372" cy="47293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B16872D-DE43-4755-8211-BDAE2EE6B3B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983495" y="6257748"/>
            <a:ext cx="10748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fld id="{6F3F4CD8-536F-4549-973D-0FBA9CAF6C21}" type="datetime1">
              <a:rPr lang="fi-FI" smtClean="0"/>
              <a:pPr/>
              <a:t>23.3.2022</a:t>
            </a:fld>
            <a:endParaRPr lang="fi-F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D66FFF-A4FB-4489-9B49-5DDC688AAB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75568" y="6257749"/>
            <a:ext cx="60347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fld id="{D5C7B8F6-2765-465B-BF52-D1DF320C1AE3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34F72BBA-3120-418C-94D3-114F2CB3192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algn="ctr"/>
            <a:r>
              <a:rPr lang="fi-FI"/>
              <a:t>Alatunniste</a:t>
            </a:r>
          </a:p>
        </p:txBody>
      </p:sp>
      <p:pic>
        <p:nvPicPr>
          <p:cNvPr id="40" name="Picture 39" descr="Shape&#10;&#10;Description automatically generated with medium confidence">
            <a:extLst>
              <a:ext uri="{FF2B5EF4-FFF2-40B4-BE49-F238E27FC236}">
                <a16:creationId xmlns:a16="http://schemas.microsoft.com/office/drawing/2014/main" id="{9795C16B-058E-4860-BEEA-26A96F855860}"/>
              </a:ext>
            </a:extLst>
          </p:cNvPr>
          <p:cNvPicPr>
            <a:picLocks noChangeAspect="1"/>
          </p:cNvPicPr>
          <p:nvPr userDrawn="1"/>
        </p:nvPicPr>
        <p:blipFill>
          <a:blip r:embed="rId5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58447" y="6329328"/>
            <a:ext cx="1505353" cy="221966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A056F827-EF0F-4841-BF9F-66695D5C34C3}"/>
              </a:ext>
            </a:extLst>
          </p:cNvPr>
          <p:cNvPicPr>
            <a:picLocks noChangeAspect="1"/>
          </p:cNvPicPr>
          <p:nvPr userDrawn="1"/>
        </p:nvPicPr>
        <p:blipFill>
          <a:blip r:embed="rId6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1116" y="6313847"/>
            <a:ext cx="1517567" cy="252928"/>
          </a:xfrm>
          <a:prstGeom prst="rect">
            <a:avLst/>
          </a:prstGeom>
        </p:spPr>
      </p:pic>
      <p:pic>
        <p:nvPicPr>
          <p:cNvPr id="44" name="Picture 43" descr="Shape, arrow&#10;&#10;Description automatically generated">
            <a:extLst>
              <a:ext uri="{FF2B5EF4-FFF2-40B4-BE49-F238E27FC236}">
                <a16:creationId xmlns:a16="http://schemas.microsoft.com/office/drawing/2014/main" id="{AC1BA2A2-D02E-4BFA-9667-5B74C6791A5A}"/>
              </a:ext>
            </a:extLst>
          </p:cNvPr>
          <p:cNvPicPr>
            <a:picLocks noChangeAspect="1"/>
          </p:cNvPicPr>
          <p:nvPr userDrawn="1"/>
        </p:nvPicPr>
        <p:blipFill>
          <a:blip r:embed="rId6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751" y="6222995"/>
            <a:ext cx="1113601" cy="434632"/>
          </a:xfrm>
          <a:prstGeom prst="rect">
            <a:avLst/>
          </a:pr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B4A78410-7DAE-4BD5-ACEE-CAF6BFA9404C}"/>
              </a:ext>
            </a:extLst>
          </p:cNvPr>
          <p:cNvPicPr>
            <a:picLocks noChangeAspect="1"/>
          </p:cNvPicPr>
          <p:nvPr userDrawn="1"/>
        </p:nvPicPr>
        <p:blipFill>
          <a:blip r:embed="rId6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7517" y="431617"/>
            <a:ext cx="821524" cy="696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7043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703" r:id="rId2"/>
    <p:sldLayoutId id="2147483778" r:id="rId3"/>
    <p:sldLayoutId id="2147483780" r:id="rId4"/>
    <p:sldLayoutId id="2147483779" r:id="rId5"/>
    <p:sldLayoutId id="2147483782" r:id="rId6"/>
    <p:sldLayoutId id="2147483781" r:id="rId7"/>
    <p:sldLayoutId id="2147483777" r:id="rId8"/>
    <p:sldLayoutId id="2147483783" r:id="rId9"/>
    <p:sldLayoutId id="2147483784" r:id="rId10"/>
    <p:sldLayoutId id="2147483786" r:id="rId11"/>
    <p:sldLayoutId id="2147483785" r:id="rId12"/>
    <p:sldLayoutId id="2147483788" r:id="rId13"/>
    <p:sldLayoutId id="2147483787" r:id="rId14"/>
    <p:sldLayoutId id="2147483650" r:id="rId15"/>
    <p:sldLayoutId id="2147483764" r:id="rId16"/>
    <p:sldLayoutId id="2147483713" r:id="rId17"/>
    <p:sldLayoutId id="2147483765" r:id="rId18"/>
    <p:sldLayoutId id="2147483652" r:id="rId19"/>
    <p:sldLayoutId id="2147483718" r:id="rId20"/>
    <p:sldLayoutId id="2147483651" r:id="rId21"/>
    <p:sldLayoutId id="2147483708" r:id="rId22"/>
    <p:sldLayoutId id="2147483734" r:id="rId23"/>
    <p:sldLayoutId id="2147483712" r:id="rId24"/>
    <p:sldLayoutId id="2147483735" r:id="rId25"/>
    <p:sldLayoutId id="2147483720" r:id="rId26"/>
    <p:sldLayoutId id="2147483736" r:id="rId27"/>
    <p:sldLayoutId id="2147483655" r:id="rId28"/>
    <p:sldLayoutId id="2147483802" r:id="rId29"/>
    <p:sldLayoutId id="2147483726" r:id="rId30"/>
    <p:sldLayoutId id="2147483727" r:id="rId31"/>
    <p:sldLayoutId id="2147483670" r:id="rId32"/>
    <p:sldLayoutId id="2147483737" r:id="rId33"/>
    <p:sldLayoutId id="2147483702" r:id="rId34"/>
    <p:sldLayoutId id="2147483738" r:id="rId35"/>
    <p:sldLayoutId id="2147483721" r:id="rId36"/>
    <p:sldLayoutId id="2147483739" r:id="rId37"/>
    <p:sldLayoutId id="2147483767" r:id="rId38"/>
    <p:sldLayoutId id="2147483770" r:id="rId39"/>
    <p:sldLayoutId id="2147483772" r:id="rId40"/>
    <p:sldLayoutId id="2147483789" r:id="rId41"/>
    <p:sldLayoutId id="2147483790" r:id="rId42"/>
    <p:sldLayoutId id="2147483791" r:id="rId43"/>
    <p:sldLayoutId id="2147483656" r:id="rId44"/>
    <p:sldLayoutId id="2147483657" r:id="rId45"/>
    <p:sldLayoutId id="2147483803" r:id="rId46"/>
    <p:sldLayoutId id="2147483804" r:id="rId47"/>
    <p:sldLayoutId id="2147483805" r:id="rId48"/>
    <p:sldLayoutId id="2147483806" r:id="rId49"/>
    <p:sldLayoutId id="2147483807" r:id="rId50"/>
    <p:sldLayoutId id="2147483808" r:id="rId51"/>
    <p:sldLayoutId id="2147483658" r:id="rId52"/>
    <p:sldLayoutId id="2147483659" r:id="rId5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 spc="0">
          <a:solidFill>
            <a:schemeClr val="tx1"/>
          </a:solidFill>
          <a:latin typeface="Poppins ExtraBold" panose="00000900000000000000" pitchFamily="2" charset="0"/>
          <a:ea typeface="+mj-ea"/>
          <a:cs typeface="Poppins ExtraBold" panose="00000900000000000000" pitchFamily="2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kern="1200">
          <a:solidFill>
            <a:schemeClr val="tx1"/>
          </a:solidFill>
          <a:latin typeface="Poppins ExtraLight" panose="00000300000000000000" pitchFamily="2" charset="0"/>
          <a:ea typeface="+mn-ea"/>
          <a:cs typeface="Poppins ExtraLight" panose="00000300000000000000" pitchFamily="2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Poppins ExtraLight" panose="00000300000000000000" pitchFamily="2" charset="0"/>
          <a:ea typeface="+mn-ea"/>
          <a:cs typeface="Poppins ExtraLight" panose="00000300000000000000" pitchFamily="2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Poppins ExtraLight" panose="00000300000000000000" pitchFamily="2" charset="0"/>
          <a:ea typeface="+mn-ea"/>
          <a:cs typeface="Poppins ExtraLight" panose="00000300000000000000" pitchFamily="2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Poppins ExtraLight" panose="00000300000000000000" pitchFamily="2" charset="0"/>
          <a:ea typeface="+mn-ea"/>
          <a:cs typeface="Poppins ExtraLight" panose="00000300000000000000" pitchFamily="2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Poppins ExtraLight" panose="00000300000000000000" pitchFamily="2" charset="0"/>
          <a:ea typeface="+mn-ea"/>
          <a:cs typeface="Poppins ExtraLight" panose="00000300000000000000" pitchFamily="2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5EA3D30-7FAC-406B-9DD1-8BCE0748A2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6"/>
            </p:custDataLst>
            <p:extLst>
              <p:ext uri="{D42A27DB-BD31-4B8C-83A1-F6EECF244321}">
                <p14:modId xmlns:p14="http://schemas.microsoft.com/office/powerpoint/2010/main" val="22782122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9" name="think-cell Slide" r:id="rId57" imgW="592" imgH="591" progId="TCLayout.ActiveDocument.1">
                  <p:embed/>
                </p:oleObj>
              </mc:Choice>
              <mc:Fallback>
                <p:oleObj name="think-cell Slide" r:id="rId57" imgW="592" imgH="59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5EA3D30-7FAC-406B-9DD1-8BCE0748A2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34675C3-A68A-494B-A887-BB4F9C5959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668" y="487242"/>
            <a:ext cx="9569557" cy="61318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124F11B-CC2F-4841-B144-357C828B93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73669" y="1299308"/>
            <a:ext cx="11205372" cy="47293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B16872D-DE43-4755-8211-BDAE2EE6B3B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983495" y="6257748"/>
            <a:ext cx="10748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fld id="{6F3F4CD8-536F-4549-973D-0FBA9CAF6C21}" type="datetime1">
              <a:rPr lang="fi-FI" smtClean="0"/>
              <a:pPr/>
              <a:t>23.3.2022</a:t>
            </a:fld>
            <a:endParaRPr lang="fi-F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D66FFF-A4FB-4489-9B49-5DDC688AAB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75568" y="6257749"/>
            <a:ext cx="60347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fld id="{D5C7B8F6-2765-465B-BF52-D1DF320C1AE3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34F72BBA-3120-418C-94D3-114F2CB3192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algn="ctr"/>
            <a:r>
              <a:rPr lang="fi-FI"/>
              <a:t>Alatunniste</a:t>
            </a:r>
          </a:p>
        </p:txBody>
      </p:sp>
      <p:pic>
        <p:nvPicPr>
          <p:cNvPr id="54" name="Picture 53">
            <a:extLst>
              <a:ext uri="{FF2B5EF4-FFF2-40B4-BE49-F238E27FC236}">
                <a16:creationId xmlns:a16="http://schemas.microsoft.com/office/drawing/2014/main" id="{B4A78410-7DAE-4BD5-ACEE-CAF6BFA9404C}"/>
              </a:ext>
            </a:extLst>
          </p:cNvPr>
          <p:cNvPicPr>
            <a:picLocks noChangeAspect="1"/>
          </p:cNvPicPr>
          <p:nvPr userDrawn="1"/>
        </p:nvPicPr>
        <p:blipFill>
          <a:blip r:embed="rId5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7517" y="431617"/>
            <a:ext cx="821524" cy="69633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68F5E9F-A37F-4244-A1FD-705A898F7F45}"/>
              </a:ext>
            </a:extLst>
          </p:cNvPr>
          <p:cNvPicPr>
            <a:picLocks noChangeAspect="1"/>
          </p:cNvPicPr>
          <p:nvPr userDrawn="1"/>
        </p:nvPicPr>
        <p:blipFill>
          <a:blip r:embed="rId6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3668" y="6242935"/>
            <a:ext cx="2317555" cy="37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09578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0" r:id="rId1"/>
    <p:sldLayoutId id="2147483811" r:id="rId2"/>
    <p:sldLayoutId id="2147483812" r:id="rId3"/>
    <p:sldLayoutId id="2147483813" r:id="rId4"/>
    <p:sldLayoutId id="2147483814" r:id="rId5"/>
    <p:sldLayoutId id="2147483815" r:id="rId6"/>
    <p:sldLayoutId id="2147483816" r:id="rId7"/>
    <p:sldLayoutId id="2147483817" r:id="rId8"/>
    <p:sldLayoutId id="2147483818" r:id="rId9"/>
    <p:sldLayoutId id="2147483819" r:id="rId10"/>
    <p:sldLayoutId id="2147483820" r:id="rId11"/>
    <p:sldLayoutId id="2147483821" r:id="rId12"/>
    <p:sldLayoutId id="2147483822" r:id="rId13"/>
    <p:sldLayoutId id="2147483823" r:id="rId14"/>
    <p:sldLayoutId id="2147483824" r:id="rId15"/>
    <p:sldLayoutId id="2147483825" r:id="rId16"/>
    <p:sldLayoutId id="2147483826" r:id="rId17"/>
    <p:sldLayoutId id="2147483827" r:id="rId18"/>
    <p:sldLayoutId id="2147483828" r:id="rId19"/>
    <p:sldLayoutId id="2147483829" r:id="rId20"/>
    <p:sldLayoutId id="2147483830" r:id="rId21"/>
    <p:sldLayoutId id="2147483831" r:id="rId22"/>
    <p:sldLayoutId id="2147483832" r:id="rId23"/>
    <p:sldLayoutId id="2147483833" r:id="rId24"/>
    <p:sldLayoutId id="2147483834" r:id="rId25"/>
    <p:sldLayoutId id="2147483835" r:id="rId26"/>
    <p:sldLayoutId id="2147483836" r:id="rId27"/>
    <p:sldLayoutId id="2147483837" r:id="rId28"/>
    <p:sldLayoutId id="2147483838" r:id="rId29"/>
    <p:sldLayoutId id="2147483839" r:id="rId30"/>
    <p:sldLayoutId id="2147483840" r:id="rId31"/>
    <p:sldLayoutId id="2147483841" r:id="rId32"/>
    <p:sldLayoutId id="2147483842" r:id="rId33"/>
    <p:sldLayoutId id="2147483843" r:id="rId34"/>
    <p:sldLayoutId id="2147483844" r:id="rId35"/>
    <p:sldLayoutId id="2147483845" r:id="rId36"/>
    <p:sldLayoutId id="2147483846" r:id="rId37"/>
    <p:sldLayoutId id="2147483847" r:id="rId38"/>
    <p:sldLayoutId id="2147483848" r:id="rId39"/>
    <p:sldLayoutId id="2147483849" r:id="rId40"/>
    <p:sldLayoutId id="2147483850" r:id="rId41"/>
    <p:sldLayoutId id="2147483851" r:id="rId42"/>
    <p:sldLayoutId id="2147483852" r:id="rId43"/>
    <p:sldLayoutId id="2147483853" r:id="rId44"/>
    <p:sldLayoutId id="2147483854" r:id="rId45"/>
    <p:sldLayoutId id="2147483855" r:id="rId46"/>
    <p:sldLayoutId id="2147483856" r:id="rId47"/>
    <p:sldLayoutId id="2147483857" r:id="rId48"/>
    <p:sldLayoutId id="2147483858" r:id="rId49"/>
    <p:sldLayoutId id="2147483859" r:id="rId50"/>
    <p:sldLayoutId id="2147483860" r:id="rId51"/>
    <p:sldLayoutId id="2147483861" r:id="rId52"/>
    <p:sldLayoutId id="2147483862" r:id="rId5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 spc="0">
          <a:solidFill>
            <a:schemeClr val="tx1"/>
          </a:solidFill>
          <a:latin typeface="Poppins ExtraBold" panose="00000900000000000000" pitchFamily="2" charset="0"/>
          <a:ea typeface="+mj-ea"/>
          <a:cs typeface="Poppins ExtraBold" panose="00000900000000000000" pitchFamily="2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kern="1200">
          <a:solidFill>
            <a:schemeClr val="tx1"/>
          </a:solidFill>
          <a:latin typeface="Poppins ExtraLight" panose="00000300000000000000" pitchFamily="2" charset="0"/>
          <a:ea typeface="+mn-ea"/>
          <a:cs typeface="Poppins ExtraLight" panose="00000300000000000000" pitchFamily="2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Poppins ExtraLight" panose="00000300000000000000" pitchFamily="2" charset="0"/>
          <a:ea typeface="+mn-ea"/>
          <a:cs typeface="Poppins ExtraLight" panose="00000300000000000000" pitchFamily="2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Poppins ExtraLight" panose="00000300000000000000" pitchFamily="2" charset="0"/>
          <a:ea typeface="+mn-ea"/>
          <a:cs typeface="Poppins ExtraLight" panose="00000300000000000000" pitchFamily="2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Poppins ExtraLight" panose="00000300000000000000" pitchFamily="2" charset="0"/>
          <a:ea typeface="+mn-ea"/>
          <a:cs typeface="Poppins ExtraLight" panose="00000300000000000000" pitchFamily="2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Poppins ExtraLight" panose="00000300000000000000" pitchFamily="2" charset="0"/>
          <a:ea typeface="+mn-ea"/>
          <a:cs typeface="Poppins ExtraLight" panose="00000300000000000000" pitchFamily="2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8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3" Type="http://schemas.openxmlformats.org/officeDocument/2006/relationships/diagramLayout" Target="../diagrams/layout1.xml"/><Relationship Id="rId7" Type="http://schemas.openxmlformats.org/officeDocument/2006/relationships/diagramData" Target="../diagrams/data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0.xml"/><Relationship Id="rId6" Type="http://schemas.microsoft.com/office/2007/relationships/diagramDrawing" Target="../diagrams/drawing1.xml"/><Relationship Id="rId11" Type="http://schemas.microsoft.com/office/2007/relationships/diagramDrawing" Target="../diagrams/drawing2.xml"/><Relationship Id="rId5" Type="http://schemas.openxmlformats.org/officeDocument/2006/relationships/diagramColors" Target="../diagrams/colors1.xml"/><Relationship Id="rId10" Type="http://schemas.openxmlformats.org/officeDocument/2006/relationships/diagramColors" Target="../diagrams/colors2.xml"/><Relationship Id="rId4" Type="http://schemas.openxmlformats.org/officeDocument/2006/relationships/diagramQuickStyle" Target="../diagrams/quickStyle1.xml"/><Relationship Id="rId9" Type="http://schemas.openxmlformats.org/officeDocument/2006/relationships/diagramQuickStyle" Target="../diagrams/quickStyl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68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mailto:Kaisa.kamppi@vantaa.fi" TargetMode="External"/><Relationship Id="rId2" Type="http://schemas.openxmlformats.org/officeDocument/2006/relationships/hyperlink" Target="file:///C:\Users\kaisa.kamppi\Downloads\Luonnos%20hyvinvointialueen%20hallintos&#195;&#164;&#195;&#164;nn&#195;&#182;st&#195;&#164;%20(aluehallituksen%2015.3.%20esitys%20aluevaltuustolle).pdf%20(1).pdf" TargetMode="External"/><Relationship Id="rId1" Type="http://schemas.openxmlformats.org/officeDocument/2006/relationships/slideLayout" Target="../slideLayouts/slideLayout68.xml"/><Relationship Id="rId4" Type="http://schemas.openxmlformats.org/officeDocument/2006/relationships/hyperlink" Target="mailto:Riikka.liljeroos@vantaa.fi" TargetMode="Externa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EA0DAF23-BC01-4463-A294-73DCED1BB65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fi-FI" dirty="0"/>
              <a:t>Hyvinvointialueen päätöksen valmistelu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E3F46ED-AA03-4490-9158-025190CB6B7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fi-FI" dirty="0"/>
              <a:t>Kaisa Kamppi, hallinnon erityisasiantuntija</a:t>
            </a:r>
          </a:p>
          <a:p>
            <a:r>
              <a:rPr lang="fi-FI" dirty="0"/>
              <a:t>23.3.2022</a:t>
            </a:r>
          </a:p>
        </p:txBody>
      </p:sp>
    </p:spTree>
    <p:extLst>
      <p:ext uri="{BB962C8B-B14F-4D97-AF65-F5344CB8AC3E}">
        <p14:creationId xmlns:p14="http://schemas.microsoft.com/office/powerpoint/2010/main" val="2886152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C5FB6C42-DA3B-4F52-827F-DE9F19CDFC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i-FI" dirty="0"/>
              <a:t>Suurien päätösten vuosi </a:t>
            </a:r>
          </a:p>
        </p:txBody>
      </p:sp>
      <p:sp>
        <p:nvSpPr>
          <p:cNvPr id="3" name="Päivämäärän paikkamerkki 2">
            <a:extLst>
              <a:ext uri="{FF2B5EF4-FFF2-40B4-BE49-F238E27FC236}">
                <a16:creationId xmlns:a16="http://schemas.microsoft.com/office/drawing/2014/main" id="{AF30D9B6-CEE0-4338-B33F-5D17E642FA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E76DBD-9ABD-401A-ACC4-8E3C979D470F}" type="datetime1">
              <a:rPr lang="fi-FI" smtClean="0"/>
              <a:t>23.3.2022</a:t>
            </a:fld>
            <a:endParaRPr lang="fi-FI"/>
          </a:p>
        </p:txBody>
      </p:sp>
      <p:sp>
        <p:nvSpPr>
          <p:cNvPr id="4" name="Dian numeron paikkamerkki 3">
            <a:extLst>
              <a:ext uri="{FF2B5EF4-FFF2-40B4-BE49-F238E27FC236}">
                <a16:creationId xmlns:a16="http://schemas.microsoft.com/office/drawing/2014/main" id="{6C4D7022-BA89-4DED-974C-932C99939B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2</a:t>
            </a:fld>
            <a:endParaRPr lang="fi-FI"/>
          </a:p>
        </p:txBody>
      </p:sp>
      <p:pic>
        <p:nvPicPr>
          <p:cNvPr id="3074" name="Picture 2" descr="03/2022 - 12/2022 &#10;Alueellisen poliittisen päätöksenteon vaihe &#10;03/22 &#10;04/22 &#10;05/22 &#10;06/22 &#10;07/22 &#10;08/22 &#10;09/22 &#10;HVA- ja palvelu- &#10;strategia &#10;hyväksytty &#10;10/22 &#10;11/22 &#10;12/22 &#10;Palveluiden &#10;järjestäminen ja &#10;orga n i saatio &#10;osallisuus sekä &#10;alueelliset &#10;yhteistyömallit &#10;Hvte, Hus, ERVA, 3. ja &#10;yksityisen Se k &#10;yhte istyö &#10;Hallinto ja &#10;tu kipalvelut &#10;Toimintojen &#10;kaupungeista &#10;V nt &#10;Päätös pelastustoimen yhteistoiminnasta &#10;palveluverkkosuunnittelu &#10;Org.rakenne ja hallintosääntö hyväksytty (ml. pela) &#10;Yhdyspintaprosessitja ohjausmallit valmisteltu ja &#10;hyväksytty &#10;Sote- ja muiden sopimusten siirrot &#10;valmisteltu &#10;Talousarvio ja —suunnitelma &#10;2023-2025 hyväksytty &#10;Talousarvioesitys ja &#10;—suunnitelma valmisteltu &#10;ESH:n yhteistyö- ja palveluintegraation malli &#10;hyväksytty &#10;Päätös palveluiden järjestämis- &#10;suunnitelmasta &#10;Valmius ja varautumissuunnitelma &#10;Yhteistyösuunnitelma valmisteltu &#10;HYTE-malli hwäksytty &#10;Erityishuoltopiirien purkaminen &#10;H us-yhtymän 1. &#10;sopimus hyväksytty &#10;HR-järjestelmäarkkitehtuuri ja toimintamalli &#10;hyväksytty &#10;Tulevaisuuden sote•keskus —hanke • johtoryhmien ohjauksessa 12/2022 asti &#10;HYTE-malli valmisteltu &#10;Hyvinvointialueen &#10;verkkosivut valmiit &#10;Hyvinvointialueen osallisuussuunnitelma &#10;HUS-yhtymän perussopimus hyväksytty &#10;valmisteltu &#10;Henkilöstöpolitiikka &#10;hyväksytty &#10;Henkilöstösiirrot hyväksytty ja HR- &#10;järjestelmät toiminnassa &#10;Päätös taloushallinnan palveluiden &#10;ja toiminnan järjestämisestä &#10;Päätös ICT:n järjestämisestä ja &#10;tiedonhallintamallista &#10;Henkilöstösiirrot &#10;tehty &#10;ICT-sopimussiirrot hyväksytty ja ICT- &#10;hankinnat tehty &#10;ICT ja tiedonhallintamallit &#10;käyttöönottovalmiita &#10;Toimintojen —projekti (ERPO) sekä siirtyzöstä '*nkilöstöstä, omain_mdesta, tiloista &#10;n ja Keravan Kriittinen piste ">
            <a:extLst>
              <a:ext uri="{FF2B5EF4-FFF2-40B4-BE49-F238E27FC236}">
                <a16:creationId xmlns:a16="http://schemas.microsoft.com/office/drawing/2014/main" id="{4A8255B3-FBB8-43B6-8DD7-2C1943D5D6BB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344" y="1100424"/>
            <a:ext cx="10767545" cy="4835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751863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äivämäärän paikkamerkki 1">
            <a:extLst>
              <a:ext uri="{FF2B5EF4-FFF2-40B4-BE49-F238E27FC236}">
                <a16:creationId xmlns:a16="http://schemas.microsoft.com/office/drawing/2014/main" id="{3C0CC8A9-EFA5-49FF-930C-DDDEF0E608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46CF40-C63D-4563-8757-6DC4E6BF2D21}" type="datetime1">
              <a:rPr lang="fi-FI" smtClean="0"/>
              <a:t>23.3.2022</a:t>
            </a:fld>
            <a:endParaRPr lang="fi-FI"/>
          </a:p>
        </p:txBody>
      </p:sp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5D32F8A8-DF47-422A-BFE1-F9ABC1FD92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3</a:t>
            </a:fld>
            <a:endParaRPr lang="fi-FI"/>
          </a:p>
        </p:txBody>
      </p:sp>
      <p:sp>
        <p:nvSpPr>
          <p:cNvPr id="4" name="Otsikko 3">
            <a:extLst>
              <a:ext uri="{FF2B5EF4-FFF2-40B4-BE49-F238E27FC236}">
                <a16:creationId xmlns:a16="http://schemas.microsoft.com/office/drawing/2014/main" id="{68475C80-A0E6-4027-9BE6-2E001C935B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i-FI" dirty="0"/>
              <a:t>Hyvinvointialueen poliittinen toimielinrakenne</a:t>
            </a:r>
          </a:p>
        </p:txBody>
      </p:sp>
      <p:graphicFrame>
        <p:nvGraphicFramePr>
          <p:cNvPr id="6" name="Sisällön paikkamerkki 5">
            <a:extLst>
              <a:ext uri="{FF2B5EF4-FFF2-40B4-BE49-F238E27FC236}">
                <a16:creationId xmlns:a16="http://schemas.microsoft.com/office/drawing/2014/main" id="{BB4E0ECB-8D43-4214-B43F-89458AA022F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223451825"/>
              </p:ext>
            </p:extLst>
          </p:nvPr>
        </p:nvGraphicFramePr>
        <p:xfrm>
          <a:off x="381000" y="1298574"/>
          <a:ext cx="11498263" cy="51784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7" name="Kaaviokuva 6">
            <a:extLst>
              <a:ext uri="{FF2B5EF4-FFF2-40B4-BE49-F238E27FC236}">
                <a16:creationId xmlns:a16="http://schemas.microsoft.com/office/drawing/2014/main" id="{3D6D940F-513D-49FC-B156-671FEB54371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82640272"/>
              </p:ext>
            </p:extLst>
          </p:nvPr>
        </p:nvGraphicFramePr>
        <p:xfrm>
          <a:off x="312736" y="793833"/>
          <a:ext cx="11498263" cy="568316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10" name="Suorakulmio 9">
            <a:extLst>
              <a:ext uri="{FF2B5EF4-FFF2-40B4-BE49-F238E27FC236}">
                <a16:creationId xmlns:a16="http://schemas.microsoft.com/office/drawing/2014/main" id="{7D4E24E1-B18E-41B4-8A4B-7F70A0302960}"/>
              </a:ext>
            </a:extLst>
          </p:cNvPr>
          <p:cNvSpPr/>
          <p:nvPr/>
        </p:nvSpPr>
        <p:spPr>
          <a:xfrm>
            <a:off x="8921661" y="178766"/>
            <a:ext cx="1682496" cy="8138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i-FI" dirty="0"/>
              <a:t>Lausuu, seuraa ja koordinoi toimintaa </a:t>
            </a:r>
          </a:p>
        </p:txBody>
      </p:sp>
      <p:sp>
        <p:nvSpPr>
          <p:cNvPr id="11" name="Suorakulmio 10">
            <a:extLst>
              <a:ext uri="{FF2B5EF4-FFF2-40B4-BE49-F238E27FC236}">
                <a16:creationId xmlns:a16="http://schemas.microsoft.com/office/drawing/2014/main" id="{8E6AE887-5C19-4B04-A76C-090EF7D4CF37}"/>
              </a:ext>
            </a:extLst>
          </p:cNvPr>
          <p:cNvSpPr/>
          <p:nvPr/>
        </p:nvSpPr>
        <p:spPr>
          <a:xfrm>
            <a:off x="7097584" y="178766"/>
            <a:ext cx="1614010" cy="813816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i-FI" sz="1400" dirty="0"/>
              <a:t>Varsinaista lainmukaista päätösvaltaa </a:t>
            </a:r>
          </a:p>
        </p:txBody>
      </p:sp>
    </p:spTree>
    <p:extLst>
      <p:ext uri="{BB962C8B-B14F-4D97-AF65-F5344CB8AC3E}">
        <p14:creationId xmlns:p14="http://schemas.microsoft.com/office/powerpoint/2010/main" val="2754449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683565F8-557A-44E7-8AF3-7AFC1758A6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i-FI" dirty="0"/>
              <a:t>Päätösten eteneminen </a:t>
            </a:r>
          </a:p>
        </p:txBody>
      </p:sp>
      <p:sp>
        <p:nvSpPr>
          <p:cNvPr id="3" name="Päivämäärän paikkamerkki 2">
            <a:extLst>
              <a:ext uri="{FF2B5EF4-FFF2-40B4-BE49-F238E27FC236}">
                <a16:creationId xmlns:a16="http://schemas.microsoft.com/office/drawing/2014/main" id="{B3D55163-89FC-4521-836F-D96974E972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E76DBD-9ABD-401A-ACC4-8E3C979D470F}" type="datetime1">
              <a:rPr lang="fi-FI" smtClean="0"/>
              <a:t>23.3.2022</a:t>
            </a:fld>
            <a:endParaRPr lang="fi-FI"/>
          </a:p>
        </p:txBody>
      </p:sp>
      <p:sp>
        <p:nvSpPr>
          <p:cNvPr id="4" name="Dian numeron paikkamerkki 3">
            <a:extLst>
              <a:ext uri="{FF2B5EF4-FFF2-40B4-BE49-F238E27FC236}">
                <a16:creationId xmlns:a16="http://schemas.microsoft.com/office/drawing/2014/main" id="{DBABCD1A-7220-4F7A-B5BB-4B680D8567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4</a:t>
            </a:fld>
            <a:endParaRPr lang="fi-FI"/>
          </a:p>
        </p:txBody>
      </p:sp>
      <p:graphicFrame>
        <p:nvGraphicFramePr>
          <p:cNvPr id="6" name="Sisällön paikkamerkki 5">
            <a:extLst>
              <a:ext uri="{FF2B5EF4-FFF2-40B4-BE49-F238E27FC236}">
                <a16:creationId xmlns:a16="http://schemas.microsoft.com/office/drawing/2014/main" id="{789543BE-DDDD-43F8-BDDC-B1BE0C51EB9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067585366"/>
              </p:ext>
            </p:extLst>
          </p:nvPr>
        </p:nvGraphicFramePr>
        <p:xfrm>
          <a:off x="673100" y="1298575"/>
          <a:ext cx="11206163" cy="47307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535092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655558EC-EA94-4BFB-8867-8280D29A5A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i-FI" dirty="0"/>
              <a:t>Asioiden valmistelu toimielimiin</a:t>
            </a:r>
          </a:p>
        </p:txBody>
      </p:sp>
      <p:sp>
        <p:nvSpPr>
          <p:cNvPr id="3" name="Päivämäärän paikkamerkki 2">
            <a:extLst>
              <a:ext uri="{FF2B5EF4-FFF2-40B4-BE49-F238E27FC236}">
                <a16:creationId xmlns:a16="http://schemas.microsoft.com/office/drawing/2014/main" id="{00CBB4AE-F727-40C2-8BA7-D0F1A9B656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E76DBD-9ABD-401A-ACC4-8E3C979D470F}" type="datetime1">
              <a:rPr lang="fi-FI" smtClean="0"/>
              <a:t>23.3.2022</a:t>
            </a:fld>
            <a:endParaRPr lang="fi-FI"/>
          </a:p>
        </p:txBody>
      </p:sp>
      <p:sp>
        <p:nvSpPr>
          <p:cNvPr id="4" name="Dian numeron paikkamerkki 3">
            <a:extLst>
              <a:ext uri="{FF2B5EF4-FFF2-40B4-BE49-F238E27FC236}">
                <a16:creationId xmlns:a16="http://schemas.microsoft.com/office/drawing/2014/main" id="{613B13F8-D961-432E-AE33-4A45B08900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5</a:t>
            </a:fld>
            <a:endParaRPr lang="fi-FI"/>
          </a:p>
        </p:txBody>
      </p:sp>
      <p:sp>
        <p:nvSpPr>
          <p:cNvPr id="5" name="Sisällön paikkamerkki 4">
            <a:extLst>
              <a:ext uri="{FF2B5EF4-FFF2-40B4-BE49-F238E27FC236}">
                <a16:creationId xmlns:a16="http://schemas.microsoft.com/office/drawing/2014/main" id="{15D6F84C-14BE-45F8-BBF4-F8592773ED3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fi-FI" dirty="0"/>
              <a:t>Sisäinen työstöä:</a:t>
            </a:r>
          </a:p>
          <a:p>
            <a:pPr lvl="1"/>
            <a:r>
              <a:rPr lang="fi-FI" dirty="0"/>
              <a:t>Mitä pitää viedä päätöksen tekoon ja miksi?</a:t>
            </a:r>
          </a:p>
          <a:p>
            <a:pPr lvl="1"/>
            <a:r>
              <a:rPr lang="fi-FI" dirty="0"/>
              <a:t>Onko asia päätös vai tiedoksi menevä asia?</a:t>
            </a:r>
          </a:p>
          <a:p>
            <a:pPr lvl="1"/>
            <a:r>
              <a:rPr lang="fi-FI" dirty="0"/>
              <a:t>Kuka esittelee asiaa kokouksessa? </a:t>
            </a:r>
          </a:p>
          <a:p>
            <a:r>
              <a:rPr lang="fi-FI" dirty="0"/>
              <a:t>Esityslistatekstin ja liitteiden laatiminen </a:t>
            </a:r>
          </a:p>
          <a:p>
            <a:pPr lvl="1"/>
            <a:r>
              <a:rPr lang="fi-FI" dirty="0"/>
              <a:t>Laatikaa asialle päätösehdotus:</a:t>
            </a:r>
          </a:p>
          <a:p>
            <a:pPr lvl="2"/>
            <a:r>
              <a:rPr lang="fi-FI" dirty="0"/>
              <a:t>Kuvaus ja perustelua asialle</a:t>
            </a:r>
          </a:p>
          <a:p>
            <a:pPr lvl="2"/>
            <a:r>
              <a:rPr lang="fi-FI" dirty="0"/>
              <a:t>Päätösehdotuksenne toimielimelle </a:t>
            </a:r>
          </a:p>
          <a:p>
            <a:pPr lvl="2"/>
            <a:r>
              <a:rPr lang="fi-FI" dirty="0"/>
              <a:t>Listaus liitteistä </a:t>
            </a:r>
          </a:p>
          <a:p>
            <a:r>
              <a:rPr lang="fi-FI" dirty="0"/>
              <a:t>Asiakirjat toimitetaan hallintotiimille </a:t>
            </a:r>
            <a:endParaRPr lang="fi-FI" dirty="0">
              <a:sym typeface="Wingdings" panose="05000000000000000000" pitchFamily="2" charset="2"/>
            </a:endParaRPr>
          </a:p>
          <a:p>
            <a:pPr lvl="1"/>
            <a:r>
              <a:rPr lang="fi-FI" dirty="0">
                <a:sym typeface="Wingdings" panose="05000000000000000000" pitchFamily="2" charset="2"/>
              </a:rPr>
              <a:t>Viemme nämä asianhallintajärjestelmään ja tarkastamme oikeellisuuden ja kieliasun. </a:t>
            </a:r>
          </a:p>
          <a:p>
            <a:pPr lvl="2"/>
            <a:r>
              <a:rPr lang="fi-FI" dirty="0">
                <a:sym typeface="Wingdings" panose="05000000000000000000" pitchFamily="2" charset="2"/>
              </a:rPr>
              <a:t>Olemme mahdollisesti valmistelijaan yhteydessä asiaan liittyen (esimerkiksi jos meillä olisi jotain muutosehdotuksia)</a:t>
            </a:r>
          </a:p>
          <a:p>
            <a:pPr lvl="1"/>
            <a:r>
              <a:rPr lang="fi-FI" dirty="0">
                <a:sym typeface="Wingdings" panose="05000000000000000000" pitchFamily="2" charset="2"/>
              </a:rPr>
              <a:t>Kääntäjä kääntää aluehallitukseen menevät asiat ja näiden liitteet</a:t>
            </a:r>
          </a:p>
          <a:p>
            <a:pPr lvl="1"/>
            <a:r>
              <a:rPr lang="fi-FI" dirty="0">
                <a:sym typeface="Wingdings" panose="05000000000000000000" pitchFamily="2" charset="2"/>
              </a:rPr>
              <a:t>Lista toimitetaan luottamushenkilöille ja julkaistaan</a:t>
            </a:r>
          </a:p>
          <a:p>
            <a:pPr lvl="1"/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035522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3EE37C5D-288D-4A14-80AA-8857EF6D00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2718" y="814261"/>
            <a:ext cx="9569557" cy="613182"/>
          </a:xfrm>
        </p:spPr>
        <p:txBody>
          <a:bodyPr>
            <a:normAutofit fontScale="90000"/>
          </a:bodyPr>
          <a:lstStyle/>
          <a:p>
            <a:r>
              <a:rPr lang="fi-FI" dirty="0"/>
              <a:t>Aikataulu keväälle 2022 – Aluehallitus &amp;-valtuusto</a:t>
            </a:r>
          </a:p>
        </p:txBody>
      </p:sp>
      <p:sp>
        <p:nvSpPr>
          <p:cNvPr id="3" name="Päivämäärän paikkamerkki 2">
            <a:extLst>
              <a:ext uri="{FF2B5EF4-FFF2-40B4-BE49-F238E27FC236}">
                <a16:creationId xmlns:a16="http://schemas.microsoft.com/office/drawing/2014/main" id="{3D471723-B211-4853-9AFA-703AB2BA86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E76DBD-9ABD-401A-ACC4-8E3C979D470F}" type="datetime1">
              <a:rPr lang="fi-FI" smtClean="0"/>
              <a:t>23.3.2022</a:t>
            </a:fld>
            <a:endParaRPr lang="fi-FI"/>
          </a:p>
        </p:txBody>
      </p:sp>
      <p:sp>
        <p:nvSpPr>
          <p:cNvPr id="4" name="Dian numeron paikkamerkki 3">
            <a:extLst>
              <a:ext uri="{FF2B5EF4-FFF2-40B4-BE49-F238E27FC236}">
                <a16:creationId xmlns:a16="http://schemas.microsoft.com/office/drawing/2014/main" id="{D62E737A-70B8-45A4-BF65-A30CD7F26B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6</a:t>
            </a:fld>
            <a:endParaRPr lang="fi-FI"/>
          </a:p>
        </p:txBody>
      </p:sp>
      <p:graphicFrame>
        <p:nvGraphicFramePr>
          <p:cNvPr id="6" name="Taulukko 6">
            <a:extLst>
              <a:ext uri="{FF2B5EF4-FFF2-40B4-BE49-F238E27FC236}">
                <a16:creationId xmlns:a16="http://schemas.microsoft.com/office/drawing/2014/main" id="{2605E14E-1D0E-4210-822E-484A45D4366D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550998652"/>
              </p:ext>
            </p:extLst>
          </p:nvPr>
        </p:nvGraphicFramePr>
        <p:xfrm>
          <a:off x="1153146" y="1996948"/>
          <a:ext cx="10424158" cy="33606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37360">
                  <a:extLst>
                    <a:ext uri="{9D8B030D-6E8A-4147-A177-3AD203B41FA5}">
                      <a16:colId xmlns:a16="http://schemas.microsoft.com/office/drawing/2014/main" val="4222071662"/>
                    </a:ext>
                  </a:extLst>
                </a:gridCol>
                <a:gridCol w="1737360">
                  <a:extLst>
                    <a:ext uri="{9D8B030D-6E8A-4147-A177-3AD203B41FA5}">
                      <a16:colId xmlns:a16="http://schemas.microsoft.com/office/drawing/2014/main" val="3370357044"/>
                    </a:ext>
                  </a:extLst>
                </a:gridCol>
                <a:gridCol w="3474719">
                  <a:extLst>
                    <a:ext uri="{9D8B030D-6E8A-4147-A177-3AD203B41FA5}">
                      <a16:colId xmlns:a16="http://schemas.microsoft.com/office/drawing/2014/main" val="1937283872"/>
                    </a:ext>
                  </a:extLst>
                </a:gridCol>
                <a:gridCol w="3474719">
                  <a:extLst>
                    <a:ext uri="{9D8B030D-6E8A-4147-A177-3AD203B41FA5}">
                      <a16:colId xmlns:a16="http://schemas.microsoft.com/office/drawing/2014/main" val="3843722248"/>
                    </a:ext>
                  </a:extLst>
                </a:gridCol>
              </a:tblGrid>
              <a:tr h="542793">
                <a:tc>
                  <a:txBody>
                    <a:bodyPr/>
                    <a:lstStyle/>
                    <a:p>
                      <a:r>
                        <a:rPr lang="fi-FI" dirty="0"/>
                        <a:t>Asiat ja liitteet valmiin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i-FI" dirty="0"/>
                        <a:t>Listapäivä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i-FI" dirty="0"/>
                        <a:t>Aluehallituksen kokou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i-FI" dirty="0"/>
                        <a:t>Valtuuston kokou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29989384"/>
                  </a:ext>
                </a:extLst>
              </a:tr>
              <a:tr h="480149">
                <a:tc>
                  <a:txBody>
                    <a:bodyPr/>
                    <a:lstStyle/>
                    <a:p>
                      <a:r>
                        <a:rPr lang="fi-FI" dirty="0"/>
                        <a:t>28.3.20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i-FI" dirty="0"/>
                        <a:t>31.3.20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i-FI" dirty="0"/>
                        <a:t>7.4.20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i-FI" dirty="0"/>
                        <a:t>19.4.202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39476389"/>
                  </a:ext>
                </a:extLst>
              </a:tr>
              <a:tr h="480149">
                <a:tc>
                  <a:txBody>
                    <a:bodyPr/>
                    <a:lstStyle/>
                    <a:p>
                      <a:r>
                        <a:rPr lang="fi-FI" dirty="0"/>
                        <a:t>14.4.20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i-FI" dirty="0"/>
                        <a:t>21/22.4.20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i-FI" dirty="0"/>
                        <a:t>27.4.2022</a:t>
                      </a:r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endParaRPr lang="fi-FI" dirty="0"/>
                    </a:p>
                    <a:p>
                      <a:r>
                        <a:rPr lang="fi-FI" dirty="0"/>
                        <a:t>31.5.202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673136"/>
                  </a:ext>
                </a:extLst>
              </a:tr>
              <a:tr h="480149">
                <a:tc>
                  <a:txBody>
                    <a:bodyPr/>
                    <a:lstStyle/>
                    <a:p>
                      <a:r>
                        <a:rPr lang="fi-FI" dirty="0"/>
                        <a:t>6.5.20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i-FI" dirty="0"/>
                        <a:t>12.5.20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i-FI" dirty="0"/>
                        <a:t>18.5.2022</a:t>
                      </a: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i-FI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80235840"/>
                  </a:ext>
                </a:extLst>
              </a:tr>
              <a:tr h="542793">
                <a:tc>
                  <a:txBody>
                    <a:bodyPr/>
                    <a:lstStyle/>
                    <a:p>
                      <a:r>
                        <a:rPr lang="fi-FI" dirty="0"/>
                        <a:t>25.5.20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i-FI" dirty="0"/>
                        <a:t>2.6.20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i-FI" dirty="0"/>
                        <a:t>7.6.20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i-FI" dirty="0"/>
                        <a:t>21.6.2022</a:t>
                      </a:r>
                    </a:p>
                    <a:p>
                      <a:endParaRPr lang="fi-FI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68917954"/>
                  </a:ext>
                </a:extLst>
              </a:tr>
              <a:tr h="542793">
                <a:tc>
                  <a:txBody>
                    <a:bodyPr/>
                    <a:lstStyle/>
                    <a:p>
                      <a:r>
                        <a:rPr lang="fi-FI" dirty="0"/>
                        <a:t>10.6.20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i-FI" dirty="0"/>
                        <a:t>16/17.6.20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i-FI" dirty="0"/>
                        <a:t>22.6.2022</a:t>
                      </a:r>
                    </a:p>
                    <a:p>
                      <a:endParaRPr lang="fi-FI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i-FI" dirty="0"/>
                        <a:t>-&gt; Elokuun kokoukseen</a:t>
                      </a:r>
                    </a:p>
                    <a:p>
                      <a:endParaRPr lang="fi-FI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2589329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63919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44677A8E-2137-4639-BAE8-4EAC7AAA21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i-FI" dirty="0"/>
              <a:t>Lopuksi</a:t>
            </a:r>
          </a:p>
        </p:txBody>
      </p:sp>
      <p:sp>
        <p:nvSpPr>
          <p:cNvPr id="3" name="Päivämäärän paikkamerkki 2">
            <a:extLst>
              <a:ext uri="{FF2B5EF4-FFF2-40B4-BE49-F238E27FC236}">
                <a16:creationId xmlns:a16="http://schemas.microsoft.com/office/drawing/2014/main" id="{99DC64C4-1EB3-4A45-BBD3-48C3563A9B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E76DBD-9ABD-401A-ACC4-8E3C979D470F}" type="datetime1">
              <a:rPr lang="fi-FI" smtClean="0"/>
              <a:t>23.3.2022</a:t>
            </a:fld>
            <a:endParaRPr lang="fi-FI"/>
          </a:p>
        </p:txBody>
      </p:sp>
      <p:sp>
        <p:nvSpPr>
          <p:cNvPr id="4" name="Dian numeron paikkamerkki 3">
            <a:extLst>
              <a:ext uri="{FF2B5EF4-FFF2-40B4-BE49-F238E27FC236}">
                <a16:creationId xmlns:a16="http://schemas.microsoft.com/office/drawing/2014/main" id="{667884EB-8C17-4A3A-B75F-D5C6FAD73D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7</a:t>
            </a:fld>
            <a:endParaRPr lang="fi-FI"/>
          </a:p>
        </p:txBody>
      </p:sp>
      <p:sp>
        <p:nvSpPr>
          <p:cNvPr id="5" name="Sisällön paikkamerkki 4">
            <a:extLst>
              <a:ext uri="{FF2B5EF4-FFF2-40B4-BE49-F238E27FC236}">
                <a16:creationId xmlns:a16="http://schemas.microsoft.com/office/drawing/2014/main" id="{0CC6C285-3E1D-4813-8C35-87F1567EF48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fi-FI" dirty="0"/>
              <a:t>Muiden toimielinten ja vaikuttamistoimielinten toiminta: </a:t>
            </a:r>
          </a:p>
          <a:p>
            <a:pPr lvl="1"/>
            <a:r>
              <a:rPr lang="fi-FI" dirty="0"/>
              <a:t>Aikataulu ja toiminnan aloitusta suunnitellaan lähiviikkoina.</a:t>
            </a:r>
          </a:p>
          <a:p>
            <a:pPr lvl="1"/>
            <a:r>
              <a:rPr lang="fi-FI" dirty="0"/>
              <a:t>1. kokoukset loppukeväästä. </a:t>
            </a:r>
          </a:p>
          <a:p>
            <a:pPr marL="0" indent="0">
              <a:buNone/>
            </a:pPr>
            <a:endParaRPr lang="fi-FI" dirty="0"/>
          </a:p>
          <a:p>
            <a:r>
              <a:rPr lang="fi-FI" dirty="0"/>
              <a:t>Hallintosääntö (viimeisin versio)</a:t>
            </a:r>
          </a:p>
          <a:p>
            <a:pPr lvl="1"/>
            <a:r>
              <a:rPr lang="fi-FI" dirty="0">
                <a:hlinkClick r:id="rId2" action="ppaction://hlinkfile"/>
              </a:rPr>
              <a:t>file:///C:/Users/kaisa.kamppi/Downloads/Luonnos%20hyvinvointialueen%20hallintos%C3%A4%C3%A4nn%C3%B6st%C3%A4%20(aluehallituksen%2015.3.%20esitys%20aluevaltuustolle).pdf%20(1).pdf</a:t>
            </a:r>
            <a:endParaRPr lang="fi-FI" dirty="0"/>
          </a:p>
          <a:p>
            <a:pPr marL="457200" lvl="1" indent="0">
              <a:buNone/>
            </a:pPr>
            <a:endParaRPr lang="fi-FI" dirty="0"/>
          </a:p>
          <a:p>
            <a:pPr marL="457200" lvl="1" indent="0">
              <a:buNone/>
            </a:pPr>
            <a:r>
              <a:rPr lang="fi-FI" sz="3200" b="1" dirty="0"/>
              <a:t>Yhteystiedot: </a:t>
            </a:r>
          </a:p>
          <a:p>
            <a:pPr lvl="1"/>
            <a:r>
              <a:rPr lang="fi-FI" dirty="0">
                <a:hlinkClick r:id="rId3"/>
              </a:rPr>
              <a:t>Kaisa.kamppi@vantaa.fi</a:t>
            </a:r>
            <a:r>
              <a:rPr lang="fi-FI" dirty="0"/>
              <a:t> myös </a:t>
            </a:r>
            <a:r>
              <a:rPr lang="fi-FI" dirty="0" err="1"/>
              <a:t>Teamsin</a:t>
            </a:r>
            <a:r>
              <a:rPr lang="fi-FI" dirty="0"/>
              <a:t> kautta voi viestitellä</a:t>
            </a:r>
          </a:p>
          <a:p>
            <a:pPr lvl="1"/>
            <a:r>
              <a:rPr lang="fi-FI" dirty="0">
                <a:hlinkClick r:id="rId4"/>
              </a:rPr>
              <a:t>Riikka.liljeroos@vantaa.fi</a:t>
            </a:r>
            <a:r>
              <a:rPr lang="fi-FI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57317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4850F5A3-65E8-41D8-8B3F-F2F136B6E3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/>
              <a:t>Kiitos! </a:t>
            </a:r>
          </a:p>
        </p:txBody>
      </p:sp>
    </p:spTree>
    <p:extLst>
      <p:ext uri="{BB962C8B-B14F-4D97-AF65-F5344CB8AC3E}">
        <p14:creationId xmlns:p14="http://schemas.microsoft.com/office/powerpoint/2010/main" val="2436312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ULsote_ja_rakenneuudistus">
  <a:themeElements>
    <a:clrScheme name="Vakesot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311F83"/>
      </a:accent1>
      <a:accent2>
        <a:srgbClr val="76CBF3"/>
      </a:accent2>
      <a:accent3>
        <a:srgbClr val="00983A"/>
      </a:accent3>
      <a:accent4>
        <a:srgbClr val="74B72B"/>
      </a:accent4>
      <a:accent5>
        <a:srgbClr val="E6007E"/>
      </a:accent5>
      <a:accent6>
        <a:srgbClr val="EA5297"/>
      </a:accent6>
      <a:hlink>
        <a:srgbClr val="0563C1"/>
      </a:hlink>
      <a:folHlink>
        <a:srgbClr val="954F72"/>
      </a:folHlink>
    </a:clrScheme>
    <a:fontScheme name="Vakesote">
      <a:majorFont>
        <a:latin typeface="Poppins Black"/>
        <a:ea typeface=""/>
        <a:cs typeface=""/>
      </a:majorFont>
      <a:minorFont>
        <a:latin typeface="Poppins Extra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TULsote_ja_rakenneuudistus">
  <a:themeElements>
    <a:clrScheme name="Vakesot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311F83"/>
      </a:accent1>
      <a:accent2>
        <a:srgbClr val="76CBF3"/>
      </a:accent2>
      <a:accent3>
        <a:srgbClr val="00983A"/>
      </a:accent3>
      <a:accent4>
        <a:srgbClr val="74B72B"/>
      </a:accent4>
      <a:accent5>
        <a:srgbClr val="E6007E"/>
      </a:accent5>
      <a:accent6>
        <a:srgbClr val="EA5297"/>
      </a:accent6>
      <a:hlink>
        <a:srgbClr val="0563C1"/>
      </a:hlink>
      <a:folHlink>
        <a:srgbClr val="954F72"/>
      </a:folHlink>
    </a:clrScheme>
    <a:fontScheme name="Vakesote">
      <a:majorFont>
        <a:latin typeface="Poppins Black"/>
        <a:ea typeface=""/>
        <a:cs typeface=""/>
      </a:majorFont>
      <a:minorFont>
        <a:latin typeface="Poppins Extra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AB46538DE3D7541A2DB83AC592618E5" ma:contentTypeVersion="10" ma:contentTypeDescription="Create a new document." ma:contentTypeScope="" ma:versionID="edef2c1ac2380f8bcffbec1377c829a9">
  <xsd:schema xmlns:xsd="http://www.w3.org/2001/XMLSchema" xmlns:xs="http://www.w3.org/2001/XMLSchema" xmlns:p="http://schemas.microsoft.com/office/2006/metadata/properties" xmlns:ns2="468a5d2d-80d4-433c-9c56-5bfeca218c3d" xmlns:ns3="e42f8916-a84b-4139-ba4c-d502e09f38cc" targetNamespace="http://schemas.microsoft.com/office/2006/metadata/properties" ma:root="true" ma:fieldsID="12a15db27523212f714b675658cfc60f" ns2:_="" ns3:_="">
    <xsd:import namespace="468a5d2d-80d4-433c-9c56-5bfeca218c3d"/>
    <xsd:import namespace="e42f8916-a84b-4139-ba4c-d502e09f38c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68a5d2d-80d4-433c-9c56-5bfeca218c3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42f8916-a84b-4139-ba4c-d502e09f38cc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62A1980-D82B-4EFF-B6E9-BBC8661568A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E0BFA90-CB2A-4438-88F8-D8898C36CDA6}">
  <ds:schemaRefs>
    <ds:schemaRef ds:uri="http://purl.org/dc/dcmitype/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468a5d2d-80d4-433c-9c56-5bfeca218c3d"/>
    <ds:schemaRef ds:uri="http://www.w3.org/XML/1998/namespace"/>
    <ds:schemaRef ds:uri="http://schemas.microsoft.com/office/infopath/2007/PartnerControls"/>
    <ds:schemaRef ds:uri="e42f8916-a84b-4139-ba4c-d502e09f38cc"/>
    <ds:schemaRef ds:uri="http://schemas.microsoft.com/office/2006/metadata/properties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73169959-8564-4558-A93A-C542A6FC4933}">
  <ds:schemaRefs>
    <ds:schemaRef ds:uri="468a5d2d-80d4-433c-9c56-5bfeca218c3d"/>
    <ds:schemaRef ds:uri="e42f8916-a84b-4139-ba4c-d502e09f38cc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4038</TotalTime>
  <Words>355</Words>
  <Application>Microsoft Office PowerPoint</Application>
  <PresentationFormat>Laajakuva</PresentationFormat>
  <Paragraphs>106</Paragraphs>
  <Slides>8</Slides>
  <Notes>0</Notes>
  <HiddenSlides>0</HiddenSlides>
  <MMClips>0</MMClips>
  <ScaleCrop>false</ScaleCrop>
  <HeadingPairs>
    <vt:vector size="8" baseType="variant">
      <vt:variant>
        <vt:lpstr>Käytetyt fontit</vt:lpstr>
      </vt:variant>
      <vt:variant>
        <vt:i4>6</vt:i4>
      </vt:variant>
      <vt:variant>
        <vt:lpstr>Teema</vt:lpstr>
      </vt:variant>
      <vt:variant>
        <vt:i4>2</vt:i4>
      </vt:variant>
      <vt:variant>
        <vt:lpstr>Upotetut OLE-palvelimet</vt:lpstr>
      </vt:variant>
      <vt:variant>
        <vt:i4>1</vt:i4>
      </vt:variant>
      <vt:variant>
        <vt:lpstr>Dian otsikot</vt:lpstr>
      </vt:variant>
      <vt:variant>
        <vt:i4>8</vt:i4>
      </vt:variant>
    </vt:vector>
  </HeadingPairs>
  <TitlesOfParts>
    <vt:vector size="17" baseType="lpstr">
      <vt:lpstr>Arial</vt:lpstr>
      <vt:lpstr>Poppins ExtraLight</vt:lpstr>
      <vt:lpstr>Calibri</vt:lpstr>
      <vt:lpstr>Poppins ExtraBold</vt:lpstr>
      <vt:lpstr>Poppins SemiBold</vt:lpstr>
      <vt:lpstr>Arial Black</vt:lpstr>
      <vt:lpstr>TULsote_ja_rakenneuudistus</vt:lpstr>
      <vt:lpstr>1_TULsote_ja_rakenneuudistus</vt:lpstr>
      <vt:lpstr>think-cell Slide</vt:lpstr>
      <vt:lpstr>Hyvinvointialueen päätöksen valmistelu</vt:lpstr>
      <vt:lpstr>Suurien päätösten vuosi </vt:lpstr>
      <vt:lpstr>Hyvinvointialueen poliittinen toimielinrakenne</vt:lpstr>
      <vt:lpstr>Päätösten eteneminen </vt:lpstr>
      <vt:lpstr>Asioiden valmistelu toimielimiin</vt:lpstr>
      <vt:lpstr>Aikataulu keväälle 2022 – Aluehallitus &amp;-valtuusto</vt:lpstr>
      <vt:lpstr>Lopuksi</vt:lpstr>
      <vt:lpstr>Kiitos!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eponen Matti</dc:creator>
  <cp:lastModifiedBy>Kamppi Kaisa</cp:lastModifiedBy>
  <cp:revision>28</cp:revision>
  <dcterms:created xsi:type="dcterms:W3CDTF">2020-12-16T08:34:10Z</dcterms:created>
  <dcterms:modified xsi:type="dcterms:W3CDTF">2022-03-23T12:30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AB46538DE3D7541A2DB83AC592618E5</vt:lpwstr>
  </property>
  <property fmtid="{D5CDD505-2E9C-101B-9397-08002B2CF9AE}" pid="3" name="MSIP_Label_ea60d57e-af5b-4752-ac57-3e4f28ca11dc_Enabled">
    <vt:lpwstr>true</vt:lpwstr>
  </property>
  <property fmtid="{D5CDD505-2E9C-101B-9397-08002B2CF9AE}" pid="4" name="MSIP_Label_ea60d57e-af5b-4752-ac57-3e4f28ca11dc_SetDate">
    <vt:lpwstr>2021-09-23T09:02:57Z</vt:lpwstr>
  </property>
  <property fmtid="{D5CDD505-2E9C-101B-9397-08002B2CF9AE}" pid="5" name="MSIP_Label_ea60d57e-af5b-4752-ac57-3e4f28ca11dc_Method">
    <vt:lpwstr>Standard</vt:lpwstr>
  </property>
  <property fmtid="{D5CDD505-2E9C-101B-9397-08002B2CF9AE}" pid="6" name="MSIP_Label_ea60d57e-af5b-4752-ac57-3e4f28ca11dc_Name">
    <vt:lpwstr>ea60d57e-af5b-4752-ac57-3e4f28ca11dc</vt:lpwstr>
  </property>
  <property fmtid="{D5CDD505-2E9C-101B-9397-08002B2CF9AE}" pid="7" name="MSIP_Label_ea60d57e-af5b-4752-ac57-3e4f28ca11dc_SiteId">
    <vt:lpwstr>36da45f1-dd2c-4d1f-af13-5abe46b99921</vt:lpwstr>
  </property>
  <property fmtid="{D5CDD505-2E9C-101B-9397-08002B2CF9AE}" pid="8" name="MSIP_Label_ea60d57e-af5b-4752-ac57-3e4f28ca11dc_ActionId">
    <vt:lpwstr>51295c10-63eb-4862-afaa-03ff3c8749e7</vt:lpwstr>
  </property>
  <property fmtid="{D5CDD505-2E9C-101B-9397-08002B2CF9AE}" pid="9" name="MSIP_Label_ea60d57e-af5b-4752-ac57-3e4f28ca11dc_ContentBits">
    <vt:lpwstr>0</vt:lpwstr>
  </property>
</Properties>
</file>